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</p:sldMasterIdLst>
  <p:notesMasterIdLst>
    <p:notesMasterId r:id="rId13"/>
  </p:notesMasterIdLst>
  <p:handoutMasterIdLst>
    <p:handoutMasterId r:id="rId14"/>
  </p:handoutMasterIdLst>
  <p:sldIdLst>
    <p:sldId id="265" r:id="rId5"/>
    <p:sldId id="256" r:id="rId6"/>
    <p:sldId id="257" r:id="rId7"/>
    <p:sldId id="325" r:id="rId8"/>
    <p:sldId id="261" r:id="rId9"/>
    <p:sldId id="263" r:id="rId10"/>
    <p:sldId id="264" r:id="rId11"/>
    <p:sldId id="262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97CD84-4DC2-4983-A9C8-F93D4682179A}" v="3" dt="2024-09-25T23:26:36.7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11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96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319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ard Jessica (BSH RNA/MK-CG)" userId="9e3912f3-4bca-43d8-8ed8-6785aa038fa5" providerId="ADAL" clId="{4597CD84-4DC2-4983-A9C8-F93D4682179A}"/>
    <pc:docChg chg="modSld modMainMaster">
      <pc:chgData name="Leonard Jessica (BSH RNA/MK-CG)" userId="9e3912f3-4bca-43d8-8ed8-6785aa038fa5" providerId="ADAL" clId="{4597CD84-4DC2-4983-A9C8-F93D4682179A}" dt="2024-09-25T23:26:30.744" v="0" actId="18331"/>
      <pc:docMkLst>
        <pc:docMk/>
      </pc:docMkLst>
      <pc:sldChg chg="setBg">
        <pc:chgData name="Leonard Jessica (BSH RNA/MK-CG)" userId="9e3912f3-4bca-43d8-8ed8-6785aa038fa5" providerId="ADAL" clId="{4597CD84-4DC2-4983-A9C8-F93D4682179A}" dt="2024-09-25T23:26:30.744" v="0" actId="18331"/>
        <pc:sldMkLst>
          <pc:docMk/>
          <pc:sldMk cId="1012656170" sldId="265"/>
        </pc:sldMkLst>
      </pc:sldChg>
      <pc:sldMasterChg chg="modSldLayout">
        <pc:chgData name="Leonard Jessica (BSH RNA/MK-CG)" userId="9e3912f3-4bca-43d8-8ed8-6785aa038fa5" providerId="ADAL" clId="{4597CD84-4DC2-4983-A9C8-F93D4682179A}" dt="2024-09-25T23:26:30.744" v="0" actId="18331"/>
        <pc:sldMasterMkLst>
          <pc:docMk/>
          <pc:sldMasterMk cId="1439507497" sldId="2147483673"/>
        </pc:sldMasterMkLst>
        <pc:sldLayoutChg chg="setBg">
          <pc:chgData name="Leonard Jessica (BSH RNA/MK-CG)" userId="9e3912f3-4bca-43d8-8ed8-6785aa038fa5" providerId="ADAL" clId="{4597CD84-4DC2-4983-A9C8-F93D4682179A}" dt="2024-09-25T23:26:30.744" v="0" actId="18331"/>
          <pc:sldLayoutMkLst>
            <pc:docMk/>
            <pc:sldMasterMk cId="1439507497" sldId="2147483673"/>
            <pc:sldLayoutMk cId="3936876927" sldId="2147483680"/>
          </pc:sldLayoutMkLst>
        </pc:sldLayoutChg>
        <pc:sldLayoutChg chg="setBg">
          <pc:chgData name="Leonard Jessica (BSH RNA/MK-CG)" userId="9e3912f3-4bca-43d8-8ed8-6785aa038fa5" providerId="ADAL" clId="{4597CD84-4DC2-4983-A9C8-F93D4682179A}" dt="2024-09-25T23:26:30.744" v="0" actId="18331"/>
          <pc:sldLayoutMkLst>
            <pc:docMk/>
            <pc:sldMasterMk cId="1439507497" sldId="2147483673"/>
            <pc:sldLayoutMk cId="129243991" sldId="2147483726"/>
          </pc:sldLayoutMkLst>
        </pc:sldLayoutChg>
      </pc:sldMasterChg>
    </pc:docChg>
  </pc:docChgLst>
  <pc:docChgLst>
    <pc:chgData name="Lee Mina (BSH RNA/MK-CG)" userId="a9614cd3-d93f-40c3-b5a0-8458133fdaf5" providerId="ADAL" clId="{EFF71A23-A11E-40A0-B6DE-728816592D81}"/>
    <pc:docChg chg="delSld modSld">
      <pc:chgData name="Lee Mina (BSH RNA/MK-CG)" userId="a9614cd3-d93f-40c3-b5a0-8458133fdaf5" providerId="ADAL" clId="{EFF71A23-A11E-40A0-B6DE-728816592D81}" dt="2024-09-25T18:42:14.794" v="40" actId="20577"/>
      <pc:docMkLst>
        <pc:docMk/>
      </pc:docMkLst>
      <pc:sldChg chg="del">
        <pc:chgData name="Lee Mina (BSH RNA/MK-CG)" userId="a9614cd3-d93f-40c3-b5a0-8458133fdaf5" providerId="ADAL" clId="{EFF71A23-A11E-40A0-B6DE-728816592D81}" dt="2024-09-25T18:41:54.892" v="0" actId="47"/>
        <pc:sldMkLst>
          <pc:docMk/>
          <pc:sldMk cId="906282613" sldId="258"/>
        </pc:sldMkLst>
      </pc:sldChg>
      <pc:sldChg chg="del">
        <pc:chgData name="Lee Mina (BSH RNA/MK-CG)" userId="a9614cd3-d93f-40c3-b5a0-8458133fdaf5" providerId="ADAL" clId="{EFF71A23-A11E-40A0-B6DE-728816592D81}" dt="2024-09-25T18:41:54.892" v="0" actId="47"/>
        <pc:sldMkLst>
          <pc:docMk/>
          <pc:sldMk cId="4111736453" sldId="259"/>
        </pc:sldMkLst>
      </pc:sldChg>
      <pc:sldChg chg="del">
        <pc:chgData name="Lee Mina (BSH RNA/MK-CG)" userId="a9614cd3-d93f-40c3-b5a0-8458133fdaf5" providerId="ADAL" clId="{EFF71A23-A11E-40A0-B6DE-728816592D81}" dt="2024-09-25T18:41:54.892" v="0" actId="47"/>
        <pc:sldMkLst>
          <pc:docMk/>
          <pc:sldMk cId="296792018" sldId="260"/>
        </pc:sldMkLst>
      </pc:sldChg>
      <pc:sldChg chg="modSp mod">
        <pc:chgData name="Lee Mina (BSH RNA/MK-CG)" userId="a9614cd3-d93f-40c3-b5a0-8458133fdaf5" providerId="ADAL" clId="{EFF71A23-A11E-40A0-B6DE-728816592D81}" dt="2024-09-25T18:42:14.794" v="40" actId="20577"/>
        <pc:sldMkLst>
          <pc:docMk/>
          <pc:sldMk cId="1012656170" sldId="265"/>
        </pc:sldMkLst>
        <pc:spChg chg="mod">
          <ac:chgData name="Lee Mina (BSH RNA/MK-CG)" userId="a9614cd3-d93f-40c3-b5a0-8458133fdaf5" providerId="ADAL" clId="{EFF71A23-A11E-40A0-B6DE-728816592D81}" dt="2024-09-25T18:42:14.794" v="40" actId="20577"/>
          <ac:spMkLst>
            <pc:docMk/>
            <pc:sldMk cId="1012656170" sldId="265"/>
            <ac:spMk id="4" creationId="{AE5D4FC0-A0B3-B450-3EDC-F68830BEC7B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20A24C-2106-4769-9EC9-3CD613BC5C32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6168F4-544B-4D16-91B3-27F392FAD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3881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707DD8-0A29-4FD8-BC1F-BEF4A631CF98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0A9F56-D37B-466F-92D1-E16809C089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108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446D47-16B8-29AE-9ED5-5764703B2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19" y="274411"/>
            <a:ext cx="10971609" cy="866020"/>
          </a:xfrm>
          <a:prstGeom prst="rect">
            <a:avLst/>
          </a:prstGeom>
        </p:spPr>
        <p:txBody>
          <a:bodyPr vert="horz" lIns="76465" tIns="38242" rIns="76465" bIns="38242" rtlCol="0" anchor="ctr">
            <a:normAutofit/>
          </a:bodyPr>
          <a:lstStyle/>
          <a:p>
            <a:r>
              <a:rPr lang="en-US" dirty="0"/>
              <a:t>Template 1 Times New Roman, Font Size 28</a:t>
            </a:r>
          </a:p>
        </p:txBody>
      </p:sp>
    </p:spTree>
    <p:extLst>
      <p:ext uri="{BB962C8B-B14F-4D97-AF65-F5344CB8AC3E}">
        <p14:creationId xmlns:p14="http://schemas.microsoft.com/office/powerpoint/2010/main" val="10969917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Thermador Cover page_option2 2018.png">
            <a:extLst>
              <a:ext uri="{FF2B5EF4-FFF2-40B4-BE49-F238E27FC236}">
                <a16:creationId xmlns:a16="http://schemas.microsoft.com/office/drawing/2014/main" id="{A0A686B8-5280-6D70-B403-D8C96FA8D8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100797"/>
            <a:ext cx="10276119" cy="1483573"/>
          </a:xfrm>
          <a:prstGeom prst="rect">
            <a:avLst/>
          </a:prstGeom>
          <a:solidFill>
            <a:schemeClr val="tx1">
              <a:lumMod val="65000"/>
              <a:lumOff val="35000"/>
              <a:alpha val="66000"/>
            </a:schemeClr>
          </a:solidFill>
          <a:ln w="9525">
            <a:noFill/>
            <a:miter lim="800000"/>
            <a:headEnd/>
            <a:tailEnd/>
          </a:ln>
        </p:spPr>
        <p:txBody>
          <a:bodyPr lIns="107480" tIns="53740" rIns="107480" bIns="53740"/>
          <a:lstStyle/>
          <a:p>
            <a:pPr marL="604580" indent="-604580" defTabSz="382501" eaLnBrk="0" hangingPunct="0">
              <a:spcBef>
                <a:spcPct val="20000"/>
              </a:spcBef>
              <a:buClr>
                <a:prstClr val="white"/>
              </a:buClr>
              <a:defRPr/>
            </a:pPr>
            <a:endParaRPr lang="en-US" sz="33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859982" y="4166731"/>
            <a:ext cx="9211670" cy="540437"/>
          </a:xfrm>
        </p:spPr>
        <p:txBody>
          <a:bodyPr>
            <a:noAutofit/>
          </a:bodyPr>
          <a:lstStyle>
            <a:lvl1pPr>
              <a:buNone/>
              <a:defRPr sz="4000" i="0" spc="0" baseline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Master Title Slide Option 1</a:t>
            </a:r>
          </a:p>
          <a:p>
            <a:pPr lvl="0"/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59982" y="4858886"/>
            <a:ext cx="7199313" cy="571500"/>
          </a:xfrm>
        </p:spPr>
        <p:txBody>
          <a:bodyPr>
            <a:normAutofit/>
          </a:bodyPr>
          <a:lstStyle>
            <a:lvl1pPr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 Name, Arial, 20</a:t>
            </a:r>
          </a:p>
          <a:p>
            <a:pPr lvl="0"/>
            <a:r>
              <a:rPr lang="en-US" dirty="0"/>
              <a:t>Date, Arial, 20</a:t>
            </a:r>
          </a:p>
        </p:txBody>
      </p:sp>
    </p:spTree>
    <p:extLst>
      <p:ext uri="{BB962C8B-B14F-4D97-AF65-F5344CB8AC3E}">
        <p14:creationId xmlns:p14="http://schemas.microsoft.com/office/powerpoint/2010/main" val="1292439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446D47-16B8-29AE-9ED5-5764703B20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219" y="274411"/>
            <a:ext cx="10971609" cy="866020"/>
          </a:xfrm>
          <a:prstGeom prst="rect">
            <a:avLst/>
          </a:prstGeom>
        </p:spPr>
        <p:txBody>
          <a:bodyPr vert="horz" lIns="76465" tIns="38242" rIns="76465" bIns="38242" rtlCol="0" anchor="ctr">
            <a:normAutofit/>
          </a:bodyPr>
          <a:lstStyle>
            <a:lvl1pPr>
              <a:defRPr/>
            </a:lvl1pPr>
          </a:lstStyle>
          <a:p>
            <a:r>
              <a:rPr lang="en-US" dirty="0"/>
              <a:t>Template 2 Times New Roman, Font Size 2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F3AB03-5E5D-720F-AC55-1DA7DC9159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0152" y="1303021"/>
            <a:ext cx="10971609" cy="459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6194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AB22B6-8128-8435-FA3D-58EF3BD74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emplate 3 – Times New Roman, Font 28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2AFE55-BA01-9400-BDEC-7EF8AA8E8B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47B1A3-3319-4059-A547-F2CEB12FA3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4C75A6CD-59C6-8302-C307-D12058F0DB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0219" y="1200152"/>
            <a:ext cx="5154958" cy="4690286"/>
          </a:xfrm>
          <a:prstGeom prst="rect">
            <a:avLst/>
          </a:prstGeom>
        </p:spPr>
        <p:txBody>
          <a:bodyPr lIns="80633" tIns="40316" rIns="80633" bIns="40316"/>
          <a:lstStyle>
            <a:lvl1pPr>
              <a:defRPr sz="1200"/>
            </a:lvl1pPr>
            <a:lvl2pPr marL="621259" indent="-238951">
              <a:buFont typeface="Wingdings" panose="05000000000000000000" pitchFamily="2" charset="2"/>
              <a:buChar char="§"/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1452973-61E0-E68F-FFD2-F9E057EEDDC8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161933" y="1200151"/>
            <a:ext cx="2514600" cy="2286000"/>
          </a:xfrm>
          <a:prstGeom prst="rect">
            <a:avLst/>
          </a:prstGeom>
        </p:spPr>
        <p:txBody>
          <a:bodyPr lIns="80633" tIns="40316" rIns="80633" bIns="40316"/>
          <a:lstStyle>
            <a:lvl1pPr>
              <a:defRPr sz="1600" baseline="0"/>
            </a:lvl1pPr>
            <a:lvl2pPr marL="621259" indent="-238951">
              <a:buFont typeface="Wingdings" panose="05000000000000000000" pitchFamily="2" charset="2"/>
              <a:buChar char="§"/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mage 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719BEA39-F58B-83EE-0259-A2B7146D903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186146" y="3598619"/>
            <a:ext cx="2514600" cy="2286000"/>
          </a:xfrm>
          <a:prstGeom prst="rect">
            <a:avLst/>
          </a:prstGeom>
        </p:spPr>
        <p:txBody>
          <a:bodyPr lIns="80633" tIns="40316" rIns="80633" bIns="40316"/>
          <a:lstStyle>
            <a:lvl1pPr>
              <a:defRPr sz="1600" baseline="0"/>
            </a:lvl1pPr>
            <a:lvl2pPr marL="621259" indent="-238951">
              <a:buFont typeface="Wingdings" panose="05000000000000000000" pitchFamily="2" charset="2"/>
              <a:buChar char="§"/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mage 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ADF800E4-4A48-C843-AB8B-8103BE311EA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9051359" y="1213031"/>
            <a:ext cx="2514600" cy="2286000"/>
          </a:xfrm>
          <a:prstGeom prst="rect">
            <a:avLst/>
          </a:prstGeom>
        </p:spPr>
        <p:txBody>
          <a:bodyPr lIns="80633" tIns="40316" rIns="80633" bIns="40316"/>
          <a:lstStyle>
            <a:lvl1pPr>
              <a:defRPr sz="1600" baseline="0"/>
            </a:lvl1pPr>
            <a:lvl2pPr marL="621259" indent="-238951">
              <a:buFont typeface="Wingdings" panose="05000000000000000000" pitchFamily="2" charset="2"/>
              <a:buChar char="§"/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mage 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FFB6ADBC-E74A-3A9A-59F3-EF4D803DB7A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67181" y="3604438"/>
            <a:ext cx="2514600" cy="2286000"/>
          </a:xfrm>
          <a:prstGeom prst="rect">
            <a:avLst/>
          </a:prstGeom>
        </p:spPr>
        <p:txBody>
          <a:bodyPr lIns="80633" tIns="40316" rIns="80633" bIns="40316"/>
          <a:lstStyle>
            <a:lvl1pPr>
              <a:defRPr sz="1600" baseline="0"/>
            </a:lvl1pPr>
            <a:lvl2pPr marL="621259" indent="-238951">
              <a:buFont typeface="Wingdings" panose="05000000000000000000" pitchFamily="2" charset="2"/>
              <a:buChar char="§"/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mage </a:t>
            </a:r>
          </a:p>
        </p:txBody>
      </p:sp>
    </p:spTree>
    <p:extLst>
      <p:ext uri="{BB962C8B-B14F-4D97-AF65-F5344CB8AC3E}">
        <p14:creationId xmlns:p14="http://schemas.microsoft.com/office/powerpoint/2010/main" val="56583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idx="10" hasCustomPrompt="1"/>
          </p:nvPr>
        </p:nvSpPr>
        <p:spPr>
          <a:xfrm>
            <a:off x="6722772" y="1200151"/>
            <a:ext cx="4859056" cy="2113263"/>
          </a:xfrm>
          <a:prstGeom prst="rect">
            <a:avLst/>
          </a:prstGeom>
        </p:spPr>
        <p:txBody>
          <a:bodyPr lIns="80633" tIns="40316" rIns="80633" bIns="40316"/>
          <a:lstStyle>
            <a:lvl1pPr>
              <a:defRPr sz="1600"/>
            </a:lvl1pPr>
            <a:lvl2pPr marL="621259" indent="-238951">
              <a:buFont typeface="Wingdings" panose="05000000000000000000" pitchFamily="2" charset="2"/>
              <a:buChar char="§"/>
              <a:defRPr sz="1400" baseline="0"/>
            </a:lvl2pPr>
            <a:lvl3pPr>
              <a:defRPr sz="1200"/>
            </a:lvl3pPr>
            <a:lvl4pPr>
              <a:defRPr sz="1200" baseline="0"/>
            </a:lvl4pPr>
            <a:lvl5pPr>
              <a:defRPr sz="1200"/>
            </a:lvl5pPr>
          </a:lstStyle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</a:t>
            </a:r>
          </a:p>
          <a:p>
            <a:pPr lvl="3"/>
            <a:r>
              <a:rPr lang="en-US" dirty="0"/>
              <a:t>Third </a:t>
            </a:r>
          </a:p>
          <a:p>
            <a:pPr lvl="0"/>
            <a:r>
              <a:rPr lang="en-US" dirty="0"/>
              <a:t> 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1" hasCustomPrompt="1"/>
          </p:nvPr>
        </p:nvSpPr>
        <p:spPr>
          <a:xfrm>
            <a:off x="6722772" y="3798441"/>
            <a:ext cx="4859056" cy="2113263"/>
          </a:xfrm>
          <a:prstGeom prst="rect">
            <a:avLst/>
          </a:prstGeom>
        </p:spPr>
        <p:txBody>
          <a:bodyPr lIns="80633" tIns="40316" rIns="80633" bIns="40316"/>
          <a:lstStyle>
            <a:lvl1pPr>
              <a:defRPr sz="1600" baseline="0"/>
            </a:lvl1pPr>
            <a:lvl2pPr marL="621259" indent="-238951">
              <a:buFont typeface="Wingdings" panose="05000000000000000000" pitchFamily="2" charset="2"/>
              <a:buChar char="§"/>
              <a:defRPr sz="1400" baseline="0"/>
            </a:lvl2pPr>
            <a:lvl3pPr>
              <a:defRPr sz="1200"/>
            </a:lvl3pPr>
            <a:lvl4pPr>
              <a:defRPr sz="1200" baseline="0"/>
            </a:lvl4pPr>
            <a:lvl5pPr>
              <a:defRPr sz="1200"/>
            </a:lvl5pPr>
          </a:lstStyle>
          <a:p>
            <a:pPr lvl="0"/>
            <a:r>
              <a:rPr lang="en-US" dirty="0"/>
              <a:t>SUPPORT IMAG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725" y="6356055"/>
            <a:ext cx="2844105" cy="365879"/>
          </a:xfrm>
          <a:prstGeom prst="rect">
            <a:avLst/>
          </a:prstGeom>
        </p:spPr>
        <p:txBody>
          <a:bodyPr vert="horz" lIns="76465" tIns="38242" rIns="76465" bIns="38242" rtlCol="0" anchor="ctr"/>
          <a:lstStyle>
            <a:lvl1pPr algn="r" defTabSz="382320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47B1A3-3319-4059-A547-F2CEB12FA3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CED2814-DAC2-E150-6694-C373CF8F7A3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10219" y="1200151"/>
            <a:ext cx="5545882" cy="482501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0FA1CBB-1AE0-D028-3139-575DD89CE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219" y="274411"/>
            <a:ext cx="10971609" cy="8660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emplate 4 – Times New Roman, Font 28</a:t>
            </a:r>
          </a:p>
        </p:txBody>
      </p:sp>
    </p:spTree>
    <p:extLst>
      <p:ext uri="{BB962C8B-B14F-4D97-AF65-F5344CB8AC3E}">
        <p14:creationId xmlns:p14="http://schemas.microsoft.com/office/powerpoint/2010/main" val="16382351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152" y="1200152"/>
            <a:ext cx="5414367" cy="47221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7414" y="1200151"/>
            <a:ext cx="5414367" cy="472218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7B1A3-3319-4059-A547-F2CEB12FA3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9A7544-F304-524B-1432-A5DF14A56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219" y="274411"/>
            <a:ext cx="10971609" cy="8660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emplate 5 – Times New Roman, Font 28</a:t>
            </a:r>
          </a:p>
        </p:txBody>
      </p:sp>
    </p:spTree>
    <p:extLst>
      <p:ext uri="{BB962C8B-B14F-4D97-AF65-F5344CB8AC3E}">
        <p14:creationId xmlns:p14="http://schemas.microsoft.com/office/powerpoint/2010/main" val="23670930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152" y="1616150"/>
            <a:ext cx="5414367" cy="434871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7414" y="1616150"/>
            <a:ext cx="5414367" cy="434871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7B1A3-3319-4059-A547-F2CEB12FA3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7695252-069B-6915-B5F8-B20C5B09283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10152" y="1299012"/>
            <a:ext cx="5414367" cy="246221"/>
          </a:xfrm>
          <a:solidFill>
            <a:srgbClr val="F2F2F2"/>
          </a:solidFill>
        </p:spPr>
        <p:txBody>
          <a:bodyPr>
            <a:normAutofit/>
          </a:bodyPr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Section header, gray background, 10 </a:t>
            </a:r>
            <a:r>
              <a:rPr lang="en-US" dirty="0" err="1"/>
              <a:t>pt</a:t>
            </a:r>
            <a:r>
              <a:rPr lang="en-US" dirty="0"/>
              <a:t> font, arial left justified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A92FB6-5F5E-D9FE-C57B-D077F2326B6E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167414" y="1297445"/>
            <a:ext cx="5414367" cy="246221"/>
          </a:xfrm>
          <a:solidFill>
            <a:srgbClr val="F2F2F2"/>
          </a:solidFill>
        </p:spPr>
        <p:txBody>
          <a:bodyPr>
            <a:normAutofit/>
          </a:bodyPr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Section header, gray background, 10 </a:t>
            </a:r>
            <a:r>
              <a:rPr lang="en-US" dirty="0" err="1"/>
              <a:t>pt</a:t>
            </a:r>
            <a:r>
              <a:rPr lang="en-US" dirty="0"/>
              <a:t> font, arial left justifi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6E9BD3-48B6-FBA6-0830-03D99E670F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219" y="274411"/>
            <a:ext cx="10971609" cy="8660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emplate 6 – Times New Roman, Font 28</a:t>
            </a:r>
          </a:p>
        </p:txBody>
      </p:sp>
    </p:spTree>
    <p:extLst>
      <p:ext uri="{BB962C8B-B14F-4D97-AF65-F5344CB8AC3E}">
        <p14:creationId xmlns:p14="http://schemas.microsoft.com/office/powerpoint/2010/main" val="2275235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152" y="1616149"/>
            <a:ext cx="10971609" cy="428492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7B1A3-3319-4059-A547-F2CEB12FA3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C34C841-DC5D-B3B3-4CDF-88916E215CA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10152" y="1282700"/>
            <a:ext cx="10971609" cy="271325"/>
          </a:xfrm>
          <a:solidFill>
            <a:srgbClr val="F2F2F2"/>
          </a:solidFill>
        </p:spPr>
        <p:txBody>
          <a:bodyPr anchor="ctr">
            <a:normAutofit/>
          </a:bodyPr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Section header, gray background, 10 </a:t>
            </a:r>
            <a:r>
              <a:rPr lang="en-US" dirty="0" err="1"/>
              <a:t>pt</a:t>
            </a:r>
            <a:r>
              <a:rPr lang="en-US" dirty="0"/>
              <a:t> font, arial left justified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71EBC6F-5E6A-E9B4-35F5-4E2F67125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219" y="274411"/>
            <a:ext cx="10971609" cy="8660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emplate 7 – Times New Roman, Font 28</a:t>
            </a:r>
          </a:p>
        </p:txBody>
      </p:sp>
    </p:spTree>
    <p:extLst>
      <p:ext uri="{BB962C8B-B14F-4D97-AF65-F5344CB8AC3E}">
        <p14:creationId xmlns:p14="http://schemas.microsoft.com/office/powerpoint/2010/main" val="1070308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F3AB03-5E5D-720F-AC55-1DA7DC9159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0152" y="1303021"/>
            <a:ext cx="10971609" cy="459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9F736CA-65FC-3144-D413-3B02B32CF0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0152" y="956929"/>
            <a:ext cx="10971608" cy="308320"/>
          </a:xfrm>
        </p:spPr>
        <p:txBody>
          <a:bodyPr>
            <a:noAutofit/>
          </a:bodyPr>
          <a:lstStyle>
            <a:lvl1pPr>
              <a:defRPr sz="18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Subhead – Times New Roman, Font Size 18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FE93A9-746F-8FFD-67DD-9F1E9E9A6D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0153" y="433506"/>
            <a:ext cx="10971608" cy="377825"/>
          </a:xfrm>
        </p:spPr>
        <p:txBody>
          <a:bodyPr>
            <a:noAutofit/>
          </a:bodyPr>
          <a:lstStyle>
            <a:lvl1pPr>
              <a:defRPr sz="28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Template 8 – Times New Roman, Font 28</a:t>
            </a:r>
          </a:p>
        </p:txBody>
      </p:sp>
    </p:spTree>
    <p:extLst>
      <p:ext uri="{BB962C8B-B14F-4D97-AF65-F5344CB8AC3E}">
        <p14:creationId xmlns:p14="http://schemas.microsoft.com/office/powerpoint/2010/main" val="32552623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4100797"/>
            <a:ext cx="10276119" cy="1483573"/>
          </a:xfrm>
          <a:prstGeom prst="rect">
            <a:avLst/>
          </a:prstGeom>
          <a:solidFill>
            <a:schemeClr val="tx1">
              <a:lumMod val="65000"/>
              <a:lumOff val="35000"/>
              <a:alpha val="66000"/>
            </a:schemeClr>
          </a:solidFill>
          <a:ln w="9525">
            <a:noFill/>
            <a:miter lim="800000"/>
            <a:headEnd/>
            <a:tailEnd/>
          </a:ln>
        </p:spPr>
        <p:txBody>
          <a:bodyPr lIns="107480" tIns="53740" rIns="107480" bIns="53740"/>
          <a:lstStyle/>
          <a:p>
            <a:pPr marL="604580" indent="-604580" defTabSz="382501" eaLnBrk="0" hangingPunct="0">
              <a:spcBef>
                <a:spcPct val="20000"/>
              </a:spcBef>
              <a:buClr>
                <a:prstClr val="white"/>
              </a:buClr>
              <a:defRPr/>
            </a:pPr>
            <a:endParaRPr lang="en-US" sz="33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859982" y="4166731"/>
            <a:ext cx="9211670" cy="540437"/>
          </a:xfrm>
        </p:spPr>
        <p:txBody>
          <a:bodyPr>
            <a:noAutofit/>
          </a:bodyPr>
          <a:lstStyle>
            <a:lvl1pPr>
              <a:buNone/>
              <a:defRPr sz="4000" i="0" spc="0" baseline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Master Title Slide Option 1</a:t>
            </a:r>
          </a:p>
          <a:p>
            <a:pPr lvl="0"/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59982" y="4858886"/>
            <a:ext cx="7199313" cy="571500"/>
          </a:xfrm>
        </p:spPr>
        <p:txBody>
          <a:bodyPr>
            <a:normAutofit/>
          </a:bodyPr>
          <a:lstStyle>
            <a:lvl1pPr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 Name, Arial, 20</a:t>
            </a:r>
          </a:p>
          <a:p>
            <a:pPr lvl="0"/>
            <a:r>
              <a:rPr lang="en-US" dirty="0"/>
              <a:t>Date, Arial, 20</a:t>
            </a:r>
          </a:p>
        </p:txBody>
      </p:sp>
    </p:spTree>
    <p:extLst>
      <p:ext uri="{BB962C8B-B14F-4D97-AF65-F5344CB8AC3E}">
        <p14:creationId xmlns:p14="http://schemas.microsoft.com/office/powerpoint/2010/main" val="3936876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0219" y="274411"/>
            <a:ext cx="10971609" cy="866020"/>
          </a:xfrm>
          <a:prstGeom prst="rect">
            <a:avLst/>
          </a:prstGeom>
        </p:spPr>
        <p:txBody>
          <a:bodyPr vert="horz" lIns="76465" tIns="38242" rIns="76465" bIns="38242" rtlCol="0" anchor="ctr">
            <a:normAutofit/>
          </a:bodyPr>
          <a:lstStyle/>
          <a:p>
            <a:r>
              <a:rPr lang="en-US" dirty="0"/>
              <a:t>Template 1 Times New Roman, Font Size 28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19" y="1600744"/>
            <a:ext cx="10971609" cy="4332224"/>
          </a:xfrm>
          <a:prstGeom prst="rect">
            <a:avLst/>
          </a:prstGeom>
        </p:spPr>
        <p:txBody>
          <a:bodyPr vert="horz" lIns="76465" tIns="38242" rIns="76465" bIns="3824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725" y="6356055"/>
            <a:ext cx="2844105" cy="365879"/>
          </a:xfrm>
          <a:prstGeom prst="rect">
            <a:avLst/>
          </a:prstGeom>
        </p:spPr>
        <p:txBody>
          <a:bodyPr vert="horz" lIns="76465" tIns="38242" rIns="76465" bIns="38242" rtlCol="0" anchor="ctr"/>
          <a:lstStyle>
            <a:lvl1pPr algn="r" defTabSz="382320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47B1A3-3319-4059-A547-F2CEB12FA3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985047-3F6B-E13E-F686-ED263884E3F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144" y="6188334"/>
            <a:ext cx="1739688" cy="350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507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23" r:id="rId2"/>
    <p:sldLayoutId id="2147483724" r:id="rId3"/>
    <p:sldLayoutId id="2147483705" r:id="rId4"/>
    <p:sldLayoutId id="2147483677" r:id="rId5"/>
    <p:sldLayoutId id="2147483721" r:id="rId6"/>
    <p:sldLayoutId id="2147483722" r:id="rId7"/>
    <p:sldLayoutId id="2147483725" r:id="rId8"/>
    <p:sldLayoutId id="2147483680" r:id="rId9"/>
    <p:sldLayoutId id="2147483726" r:id="rId10"/>
  </p:sldLayoutIdLst>
  <p:hf hdr="0" ftr="0" dt="0"/>
  <p:txStyles>
    <p:titleStyle>
      <a:lvl1pPr algn="l" defTabSz="764641" rtl="0" eaLnBrk="1" latinLnBrk="0" hangingPunct="1">
        <a:spcBef>
          <a:spcPct val="0"/>
        </a:spcBef>
        <a:buNone/>
        <a:defRPr sz="2800" b="1" i="0" kern="1200" spc="0">
          <a:solidFill>
            <a:schemeClr val="tx1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86727" indent="-286727" algn="l" defTabSz="764641" rtl="0" eaLnBrk="1" latinLnBrk="0" hangingPunct="1">
        <a:spcBef>
          <a:spcPct val="20000"/>
        </a:spcBef>
        <a:buSzPct val="104000"/>
        <a:buFont typeface="Wingdings" pitchFamily="2" charset="2"/>
        <a:buNone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621259" indent="-238951" algn="l" defTabSz="764641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55791" indent="-191166" algn="l" defTabSz="764641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38109" indent="-191166" algn="l" defTabSz="764641" rtl="0" eaLnBrk="1" latinLnBrk="0" hangingPunct="1">
        <a:spcBef>
          <a:spcPct val="20000"/>
        </a:spcBef>
        <a:buFont typeface="Arial" pitchFamily="34" charset="0"/>
        <a:buChar char="–"/>
        <a:defRPr sz="1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20433" indent="-191166" algn="l" defTabSz="764641" rtl="0" eaLnBrk="1" latinLnBrk="0" hangingPunct="1">
        <a:spcBef>
          <a:spcPct val="20000"/>
        </a:spcBef>
        <a:buFont typeface="Arial" pitchFamily="34" charset="0"/>
        <a:buChar char="»"/>
        <a:defRPr sz="1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02745" indent="-191166" algn="l" defTabSz="764641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485061" indent="-191166" algn="l" defTabSz="764641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867372" indent="-191166" algn="l" defTabSz="764641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249692" indent="-191166" algn="l" defTabSz="764641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464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2320" algn="l" defTabSz="76464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4641" algn="l" defTabSz="76464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6958" algn="l" defTabSz="76464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9272" algn="l" defTabSz="76464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11579" algn="l" defTabSz="76464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93901" algn="l" defTabSz="76464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76221" algn="l" defTabSz="76464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58540" algn="l" defTabSz="76464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8.png"/><Relationship Id="rId5" Type="http://schemas.openxmlformats.org/officeDocument/2006/relationships/tags" Target="../tags/tag8.xml"/><Relationship Id="rId10" Type="http://schemas.openxmlformats.org/officeDocument/2006/relationships/image" Target="../media/image7.png"/><Relationship Id="rId4" Type="http://schemas.openxmlformats.org/officeDocument/2006/relationships/tags" Target="../tags/tag7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image" Target="../media/image11.png"/><Relationship Id="rId5" Type="http://schemas.openxmlformats.org/officeDocument/2006/relationships/tags" Target="../tags/tag15.xml"/><Relationship Id="rId10" Type="http://schemas.openxmlformats.org/officeDocument/2006/relationships/image" Target="../media/image10.png"/><Relationship Id="rId4" Type="http://schemas.openxmlformats.org/officeDocument/2006/relationships/tags" Target="../tags/tag14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2.png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3.xml"/><Relationship Id="rId7" Type="http://schemas.openxmlformats.org/officeDocument/2006/relationships/image" Target="../media/image13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7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9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00AE02-8DAB-8E24-FBAB-895556137F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ermador Cooking SKU Optimiz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5D4FC0-A0B3-B450-3EDC-F68830BEC7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BU Cooking</a:t>
            </a:r>
          </a:p>
          <a:p>
            <a:r>
              <a:rPr lang="en-US" dirty="0"/>
              <a:t>September 2024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6561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0918E-D74F-A433-0321-AE8D42D8E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oktops - Electric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0898F8-1AE5-B373-4C42-8C1865517E98}"/>
              </a:ext>
            </a:extLst>
          </p:cNvPr>
          <p:cNvSpPr txBox="1"/>
          <p:nvPr/>
        </p:nvSpPr>
        <p:spPr>
          <a:xfrm>
            <a:off x="628614" y="1140431"/>
            <a:ext cx="10577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te: removing all SKUs with </a:t>
            </a:r>
            <a:r>
              <a:rPr lang="en-US" b="1" u="sng" dirty="0">
                <a:solidFill>
                  <a:srgbClr val="0000CC"/>
                </a:solidFill>
              </a:rPr>
              <a:t>KNOB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B13C1C4-AAEF-C891-40DD-2C88D14207B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7360509"/>
              </p:ext>
            </p:extLst>
          </p:nvPr>
        </p:nvGraphicFramePr>
        <p:xfrm>
          <a:off x="734663" y="1708592"/>
          <a:ext cx="10722674" cy="3760694"/>
        </p:xfrm>
        <a:graphic>
          <a:graphicData uri="http://schemas.openxmlformats.org/drawingml/2006/table">
            <a:tbl>
              <a:tblPr/>
              <a:tblGrid>
                <a:gridCol w="5361337">
                  <a:extLst>
                    <a:ext uri="{9D8B030D-6E8A-4147-A177-3AD203B41FA5}">
                      <a16:colId xmlns:a16="http://schemas.microsoft.com/office/drawing/2014/main" val="994613205"/>
                    </a:ext>
                  </a:extLst>
                </a:gridCol>
                <a:gridCol w="5361337">
                  <a:extLst>
                    <a:ext uri="{9D8B030D-6E8A-4147-A177-3AD203B41FA5}">
                      <a16:colId xmlns:a16="http://schemas.microsoft.com/office/drawing/2014/main" val="1520429057"/>
                    </a:ext>
                  </a:extLst>
                </a:gridCol>
              </a:tblGrid>
              <a:tr h="52493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DISCONTINUING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RECOMMENDED TRANSITION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721608"/>
                  </a:ext>
                </a:extLst>
              </a:tr>
              <a:tr h="1617881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</a:t>
                      </a:r>
                      <a:r>
                        <a:rPr lang="en-US" sz="15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CET305YB - 30" Electric Cooktop, Touch Control, Frameless Design</a:t>
                      </a:r>
                    </a:p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CIT304YB - 30" Induction Cooktop, 11" Round Element, Black, Frameless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805267"/>
                  </a:ext>
                </a:extLst>
              </a:tr>
              <a:tr h="1617881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CET366YB - 36" Electric Cooktop, Touch Control, Stainless Steel Frame</a:t>
                      </a:r>
                    </a:p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CIT365YB - 36" Induction Cooktop, 13" Round Element, Black, Frameless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1535948"/>
                  </a:ext>
                </a:extLst>
              </a:tr>
            </a:tbl>
          </a:graphicData>
        </a:graphic>
      </p:graphicFrame>
      <p:sp>
        <p:nvSpPr>
          <p:cNvPr id="7" name="Rectangle 9">
            <a:extLst>
              <a:ext uri="{FF2B5EF4-FFF2-40B4-BE49-F238E27FC236}">
                <a16:creationId xmlns:a16="http://schemas.microsoft.com/office/drawing/2014/main" id="{3E023288-B34B-443F-8E30-9D56B2F1F1D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78100" y="221773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1A4277E1-626C-4C4B-2FAC-A478990C4822}"/>
              </a:ext>
            </a:extLst>
          </p:cNvPr>
          <p:cNvSpPr txBox="1"/>
          <p:nvPr/>
        </p:nvSpPr>
        <p:spPr>
          <a:xfrm>
            <a:off x="2799392" y="2518230"/>
            <a:ext cx="311801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CEM305TB</a:t>
            </a:r>
          </a:p>
          <a:p>
            <a:r>
              <a:rPr lang="en-US" sz="1600" dirty="0"/>
              <a:t>30" Electric Cooktop, Knob Control, Frameless Design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9/30/2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6D77F9-763D-817F-A29D-F00457D0F73D}"/>
              </a:ext>
            </a:extLst>
          </p:cNvPr>
          <p:cNvSpPr txBox="1"/>
          <p:nvPr/>
        </p:nvSpPr>
        <p:spPr>
          <a:xfrm>
            <a:off x="2811501" y="4086264"/>
            <a:ext cx="3200964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CEM366TB</a:t>
            </a:r>
          </a:p>
          <a:p>
            <a:r>
              <a:rPr lang="en-US" sz="1600" dirty="0"/>
              <a:t>36" Electric Cooktop, Knob Control, Stainless Steel Frame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9/30/24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0D0C71-AD2C-CD04-0E6B-578AC406BF6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29" y="2603506"/>
            <a:ext cx="1356106" cy="93744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0BBD11D-4753-A217-B2A7-9BDB196AFB9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283" y="4115020"/>
            <a:ext cx="1825598" cy="105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888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0918E-D74F-A433-0321-AE8D42D8E7C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1753" y="0"/>
            <a:ext cx="10971609" cy="866020"/>
          </a:xfrm>
        </p:spPr>
        <p:txBody>
          <a:bodyPr>
            <a:normAutofit/>
          </a:bodyPr>
          <a:lstStyle/>
          <a:p>
            <a:r>
              <a:rPr lang="en-US" dirty="0"/>
              <a:t>Cooktops – Liberty Induc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0898F8-1AE5-B373-4C42-8C1865517E9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01706" y="668419"/>
            <a:ext cx="10577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te: removing </a:t>
            </a:r>
            <a:r>
              <a:rPr lang="en-US" b="1" u="sng" dirty="0">
                <a:solidFill>
                  <a:srgbClr val="0000CC"/>
                </a:solidFill>
              </a:rPr>
              <a:t>FRAMED</a:t>
            </a:r>
            <a:r>
              <a:rPr lang="en-US" dirty="0"/>
              <a:t> cooktops</a:t>
            </a:r>
            <a:endParaRPr lang="en-US" b="1" u="sng" dirty="0">
              <a:solidFill>
                <a:srgbClr val="0000CC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B13C1C4-AAEF-C891-40DD-2C88D14207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32682805"/>
              </p:ext>
            </p:extLst>
          </p:nvPr>
        </p:nvGraphicFramePr>
        <p:xfrm>
          <a:off x="726197" y="1150548"/>
          <a:ext cx="10722674" cy="4784584"/>
        </p:xfrm>
        <a:graphic>
          <a:graphicData uri="http://schemas.openxmlformats.org/drawingml/2006/table">
            <a:tbl>
              <a:tblPr/>
              <a:tblGrid>
                <a:gridCol w="5361337">
                  <a:extLst>
                    <a:ext uri="{9D8B030D-6E8A-4147-A177-3AD203B41FA5}">
                      <a16:colId xmlns:a16="http://schemas.microsoft.com/office/drawing/2014/main" val="994613205"/>
                    </a:ext>
                  </a:extLst>
                </a:gridCol>
                <a:gridCol w="5361337">
                  <a:extLst>
                    <a:ext uri="{9D8B030D-6E8A-4147-A177-3AD203B41FA5}">
                      <a16:colId xmlns:a16="http://schemas.microsoft.com/office/drawing/2014/main" val="1520429057"/>
                    </a:ext>
                  </a:extLst>
                </a:gridCol>
              </a:tblGrid>
              <a:tr h="46696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DISCONTINUING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RECOMMENDED TRANSITION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721608"/>
                  </a:ext>
                </a:extLst>
              </a:tr>
              <a:tr h="1439208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</a:t>
                      </a:r>
                      <a:r>
                        <a:rPr lang="en-US" sz="15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764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CIT367YG - 36" Liberty Induction Cooktop, Titanium Gray, Frameless</a:t>
                      </a:r>
                    </a:p>
                    <a:p>
                      <a:pPr marL="0" indent="0" algn="l" fontAlgn="auto">
                        <a:buFont typeface="Arial" panose="020B0604020202020204" pitchFamily="34" charset="0"/>
                        <a:buNone/>
                      </a:pP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805267"/>
                  </a:ext>
                </a:extLst>
              </a:tr>
              <a:tr h="1439208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CIT367YG - 36" Liberty Induction Cooktop, Titanium Gray, Frameless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1535948"/>
                  </a:ext>
                </a:extLst>
              </a:tr>
              <a:tr h="1439208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</a:t>
                      </a:r>
                      <a:r>
                        <a:rPr lang="en-US" sz="15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764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CIT367YG - 36" Liberty Induction Cooktop, Titanium Gray, Frameless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5296905"/>
                  </a:ext>
                </a:extLst>
              </a:tr>
            </a:tbl>
          </a:graphicData>
        </a:graphic>
      </p:graphicFrame>
      <p:sp>
        <p:nvSpPr>
          <p:cNvPr id="7" name="Rectangle 9">
            <a:extLst>
              <a:ext uri="{FF2B5EF4-FFF2-40B4-BE49-F238E27FC236}">
                <a16:creationId xmlns:a16="http://schemas.microsoft.com/office/drawing/2014/main" id="{3E023288-B34B-443F-8E30-9D56B2F1F1D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78100" y="221773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1A4277E1-626C-4C4B-2FAC-A478990C482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807859" y="1655969"/>
            <a:ext cx="311801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CIT367YMS</a:t>
            </a:r>
          </a:p>
          <a:p>
            <a:r>
              <a:rPr lang="en-US" sz="1600" dirty="0"/>
              <a:t>36" Liberty Induction Cooktop, Silver Mirror, Frame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3/31/202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6D77F9-763D-817F-A29D-F00457D0F73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819968" y="3224003"/>
            <a:ext cx="3200964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CIT367YGS</a:t>
            </a:r>
          </a:p>
          <a:p>
            <a:r>
              <a:rPr lang="en-US" sz="1600" dirty="0"/>
              <a:t>36" Liberty Induction Cooktop, Titanium Gray, Frame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3/31/2025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3BC306C-E794-C322-F054-54DD35F05FB3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745" y="1698940"/>
            <a:ext cx="1853474" cy="106502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5E51C3F-8048-402E-B76D-6C7428A9FBF5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385" y="3214083"/>
            <a:ext cx="1853474" cy="107306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E96426-F842-D4E7-91AA-46A1AD6D360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8624" y="4726363"/>
            <a:ext cx="1821716" cy="1029666"/>
          </a:xfrm>
          <a:prstGeom prst="rect">
            <a:avLst/>
          </a:prstGeom>
        </p:spPr>
      </p:pic>
      <p:sp>
        <p:nvSpPr>
          <p:cNvPr id="5" name="TextBox 8">
            <a:extLst>
              <a:ext uri="{FF2B5EF4-FFF2-40B4-BE49-F238E27FC236}">
                <a16:creationId xmlns:a16="http://schemas.microsoft.com/office/drawing/2014/main" id="{8E7D4CD7-FAD8-B785-C821-77B7D620A43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819968" y="4648033"/>
            <a:ext cx="311801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CIT367YM</a:t>
            </a:r>
          </a:p>
          <a:p>
            <a:r>
              <a:rPr lang="en-US" sz="1600" dirty="0"/>
              <a:t>36" Liberty Induction Cooktop, Silver Mirror, Frame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3/31/2025</a:t>
            </a:r>
          </a:p>
        </p:txBody>
      </p:sp>
    </p:spTree>
    <p:extLst>
      <p:ext uri="{BB962C8B-B14F-4D97-AF65-F5344CB8AC3E}">
        <p14:creationId xmlns:p14="http://schemas.microsoft.com/office/powerpoint/2010/main" val="5336510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0918E-D74F-A433-0321-AE8D42D8E7C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10219" y="0"/>
            <a:ext cx="10971609" cy="866020"/>
          </a:xfrm>
        </p:spPr>
        <p:txBody>
          <a:bodyPr>
            <a:normAutofit/>
          </a:bodyPr>
          <a:lstStyle/>
          <a:p>
            <a:r>
              <a:rPr lang="en-US" dirty="0"/>
              <a:t>Cooktops – Heritage Induc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0898F8-1AE5-B373-4C42-8C1865517E9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10172" y="668419"/>
            <a:ext cx="10577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te: removing </a:t>
            </a:r>
            <a:r>
              <a:rPr lang="en-US" b="1" u="sng" dirty="0">
                <a:solidFill>
                  <a:srgbClr val="0000CC"/>
                </a:solidFill>
              </a:rPr>
              <a:t>SILVER MIRROR</a:t>
            </a:r>
            <a:r>
              <a:rPr lang="en-US" b="1" dirty="0"/>
              <a:t> </a:t>
            </a:r>
            <a:r>
              <a:rPr lang="en-US" dirty="0"/>
              <a:t>cooktops &amp; transition frameless to a new generation</a:t>
            </a:r>
            <a:endParaRPr lang="en-US" b="1" u="sng" dirty="0">
              <a:solidFill>
                <a:srgbClr val="0000CC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B13C1C4-AAEF-C891-40DD-2C88D14207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19548268"/>
              </p:ext>
            </p:extLst>
          </p:nvPr>
        </p:nvGraphicFramePr>
        <p:xfrm>
          <a:off x="688096" y="1178004"/>
          <a:ext cx="10722674" cy="4585619"/>
        </p:xfrm>
        <a:graphic>
          <a:graphicData uri="http://schemas.openxmlformats.org/drawingml/2006/table">
            <a:tbl>
              <a:tblPr/>
              <a:tblGrid>
                <a:gridCol w="5361337">
                  <a:extLst>
                    <a:ext uri="{9D8B030D-6E8A-4147-A177-3AD203B41FA5}">
                      <a16:colId xmlns:a16="http://schemas.microsoft.com/office/drawing/2014/main" val="994613205"/>
                    </a:ext>
                  </a:extLst>
                </a:gridCol>
                <a:gridCol w="5361337">
                  <a:extLst>
                    <a:ext uri="{9D8B030D-6E8A-4147-A177-3AD203B41FA5}">
                      <a16:colId xmlns:a16="http://schemas.microsoft.com/office/drawing/2014/main" val="1520429057"/>
                    </a:ext>
                  </a:extLst>
                </a:gridCol>
              </a:tblGrid>
              <a:tr h="44754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DISCONTINUING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RECOMMENDED TRANSITION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721608"/>
                  </a:ext>
                </a:extLst>
              </a:tr>
              <a:tr h="1379359">
                <a:tc>
                  <a:txBody>
                    <a:bodyPr/>
                    <a:lstStyle/>
                    <a:p>
                      <a:pPr algn="l" fontAlgn="auto"/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764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b="0" i="0" kern="120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  <a:ea typeface="+mn-ea"/>
                          <a:cs typeface="+mn-cs"/>
                        </a:rPr>
                        <a:t>CIT304BB – 30” Heritage Induction Cooktop Next Generation w/ Enhanced Digital Features.  SOS April 2025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805267"/>
                  </a:ext>
                </a:extLst>
              </a:tr>
              <a:tr h="1379359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764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b="0" i="0" kern="120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  <a:ea typeface="+mn-ea"/>
                          <a:cs typeface="+mn-cs"/>
                        </a:rPr>
                        <a:t>CIT304BB – 30” Heritage Induction Cooktop Next Generation w/ Enhanced Digital Features.  SOS April 2025</a:t>
                      </a:r>
                    </a:p>
                    <a:p>
                      <a:pPr marL="0" marR="0" lvl="0" indent="0" algn="l" defTabSz="764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b="0" i="0" kern="120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1535948"/>
                  </a:ext>
                </a:extLst>
              </a:tr>
              <a:tr h="1379359">
                <a:tc>
                  <a:txBody>
                    <a:bodyPr/>
                    <a:lstStyle/>
                    <a:p>
                      <a:pPr algn="l" fontAlgn="auto"/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764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b="0" i="0" kern="120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  <a:ea typeface="+mn-ea"/>
                          <a:cs typeface="+mn-cs"/>
                        </a:rPr>
                        <a:t>CIT365BB – 36” Heritage Induction Cooktop Next Generation w/ Enhanced Digital Features.  SOS April 2025</a:t>
                      </a:r>
                    </a:p>
                    <a:p>
                      <a:pPr marL="0" marR="0" lvl="0" indent="0" algn="l" defTabSz="764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b="0" i="0" kern="120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1325049"/>
                  </a:ext>
                </a:extLst>
              </a:tr>
            </a:tbl>
          </a:graphicData>
        </a:graphic>
      </p:graphicFrame>
      <p:sp>
        <p:nvSpPr>
          <p:cNvPr id="7" name="Rectangle 9">
            <a:extLst>
              <a:ext uri="{FF2B5EF4-FFF2-40B4-BE49-F238E27FC236}">
                <a16:creationId xmlns:a16="http://schemas.microsoft.com/office/drawing/2014/main" id="{3E023288-B34B-443F-8E30-9D56B2F1F1D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78100" y="221773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6D77F9-763D-817F-A29D-F00457D0F73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98005" y="1759924"/>
            <a:ext cx="3200964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CIT304YM</a:t>
            </a:r>
          </a:p>
          <a:p>
            <a:r>
              <a:rPr lang="en-US" sz="1600" dirty="0"/>
              <a:t>30” Heritage® Induction Cooktop Silver Mirror, Without Frame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3/31/2025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ED7004E-19C3-8F48-F726-08DEA05ED856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616" y="1824822"/>
            <a:ext cx="1342331" cy="92941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1EE6A96-0E39-C6FA-C9F6-A0F119F0B7C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698005" y="3117540"/>
            <a:ext cx="3200964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CIT304YB</a:t>
            </a:r>
          </a:p>
          <a:p>
            <a:r>
              <a:rPr lang="en-US" sz="1600" dirty="0"/>
              <a:t>30” Heritage® Induction Cooktop Black, Without Frame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3/31/202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51A4A7-43F4-6D26-A0C3-5314D32D931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722601" y="4521004"/>
            <a:ext cx="3200964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CIT365YB</a:t>
            </a:r>
          </a:p>
          <a:p>
            <a:r>
              <a:rPr lang="en-US" sz="1600" dirty="0"/>
              <a:t>36” Heritage® Induction Cooktop Black, Without Frame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3/31/2025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F963B47-3849-471D-96FA-F3DF3510B84E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616" y="3206832"/>
            <a:ext cx="1350235" cy="92941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9ECECE0-B04E-AE34-22C4-65BB14FE7820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291" y="4610295"/>
            <a:ext cx="1598979" cy="92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6423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0918E-D74F-A433-0321-AE8D42D8E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 Rang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0898F8-1AE5-B373-4C42-8C1865517E98}"/>
              </a:ext>
            </a:extLst>
          </p:cNvPr>
          <p:cNvSpPr txBox="1"/>
          <p:nvPr/>
        </p:nvSpPr>
        <p:spPr>
          <a:xfrm>
            <a:off x="610172" y="942830"/>
            <a:ext cx="10577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te: Phase-out low volume SKUs to optimize the portfolio</a:t>
            </a:r>
            <a:endParaRPr lang="en-US" b="1" u="sng" dirty="0">
              <a:solidFill>
                <a:srgbClr val="0000CC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B13C1C4-AAEF-C891-40DD-2C88D14207B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462748"/>
              </p:ext>
            </p:extLst>
          </p:nvPr>
        </p:nvGraphicFramePr>
        <p:xfrm>
          <a:off x="734663" y="1447800"/>
          <a:ext cx="10722674" cy="1890088"/>
        </p:xfrm>
        <a:graphic>
          <a:graphicData uri="http://schemas.openxmlformats.org/drawingml/2006/table">
            <a:tbl>
              <a:tblPr/>
              <a:tblGrid>
                <a:gridCol w="5361337">
                  <a:extLst>
                    <a:ext uri="{9D8B030D-6E8A-4147-A177-3AD203B41FA5}">
                      <a16:colId xmlns:a16="http://schemas.microsoft.com/office/drawing/2014/main" val="994613205"/>
                    </a:ext>
                  </a:extLst>
                </a:gridCol>
                <a:gridCol w="5361337">
                  <a:extLst>
                    <a:ext uri="{9D8B030D-6E8A-4147-A177-3AD203B41FA5}">
                      <a16:colId xmlns:a16="http://schemas.microsoft.com/office/drawing/2014/main" val="1520429057"/>
                    </a:ext>
                  </a:extLst>
                </a:gridCol>
              </a:tblGrid>
              <a:tr h="427048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DISCONTINUING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RECOMMENDED TRANSITION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721608"/>
                  </a:ext>
                </a:extLst>
              </a:tr>
              <a:tr h="1342486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</a:t>
                      </a:r>
                      <a:r>
                        <a:rPr lang="en-US" sz="15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Transition from Pro Grand to Pro Harmony Model</a:t>
                      </a:r>
                    </a:p>
                    <a:p>
                      <a:pPr marL="0" indent="0" algn="l" fontAlgn="auto">
                        <a:buFont typeface="Arial" panose="020B0604020202020204" pitchFamily="34" charset="0"/>
                        <a:buNone/>
                      </a:pP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PRG364WDH - Pro-Harm 36" Gas Range 4 </a:t>
                      </a:r>
                      <a:r>
                        <a:rPr lang="en-US" sz="1800" b="0" i="0" dirty="0" err="1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BRNR</a:t>
                      </a: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 Griddle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805267"/>
                  </a:ext>
                </a:extLst>
              </a:tr>
            </a:tbl>
          </a:graphicData>
        </a:graphic>
      </p:graphicFrame>
      <p:sp>
        <p:nvSpPr>
          <p:cNvPr id="7" name="Rectangle 9">
            <a:extLst>
              <a:ext uri="{FF2B5EF4-FFF2-40B4-BE49-F238E27FC236}">
                <a16:creationId xmlns:a16="http://schemas.microsoft.com/office/drawing/2014/main" id="{3E023288-B34B-443F-8E30-9D56B2F1F1D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78100" y="221773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1A4277E1-626C-4C4B-2FAC-A478990C482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80950" y="1980581"/>
            <a:ext cx="311801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PRG364WDG</a:t>
            </a:r>
          </a:p>
          <a:p>
            <a:r>
              <a:rPr lang="en-US" sz="1600" dirty="0"/>
              <a:t>Pro-Grand 36" Gas Range 4 </a:t>
            </a:r>
            <a:r>
              <a:rPr lang="en-US" sz="1600" dirty="0" err="1"/>
              <a:t>BRNR</a:t>
            </a:r>
            <a:r>
              <a:rPr lang="en-US" sz="1600" dirty="0"/>
              <a:t> Griddle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11/30/2024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F537CD5-DC75-3CBA-786C-C53E02CBCF7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4252" y="1980581"/>
            <a:ext cx="1070648" cy="120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7457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0918E-D74F-A433-0321-AE8D42D8E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Ventilation – Wall Hoo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0898F8-1AE5-B373-4C42-8C1865517E98}"/>
              </a:ext>
            </a:extLst>
          </p:cNvPr>
          <p:cNvSpPr txBox="1"/>
          <p:nvPr/>
        </p:nvSpPr>
        <p:spPr>
          <a:xfrm>
            <a:off x="610172" y="942830"/>
            <a:ext cx="10577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te: Phase-out low volume SKUs to optimize the portfolio</a:t>
            </a:r>
            <a:endParaRPr lang="en-US" b="1" u="sng" dirty="0">
              <a:solidFill>
                <a:srgbClr val="0000CC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B13C1C4-AAEF-C891-40DD-2C88D14207B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245488"/>
              </p:ext>
            </p:extLst>
          </p:nvPr>
        </p:nvGraphicFramePr>
        <p:xfrm>
          <a:off x="492214" y="1376950"/>
          <a:ext cx="11207572" cy="4666500"/>
        </p:xfrm>
        <a:graphic>
          <a:graphicData uri="http://schemas.openxmlformats.org/drawingml/2006/table">
            <a:tbl>
              <a:tblPr/>
              <a:tblGrid>
                <a:gridCol w="5603786">
                  <a:extLst>
                    <a:ext uri="{9D8B030D-6E8A-4147-A177-3AD203B41FA5}">
                      <a16:colId xmlns:a16="http://schemas.microsoft.com/office/drawing/2014/main" val="994613205"/>
                    </a:ext>
                  </a:extLst>
                </a:gridCol>
                <a:gridCol w="5603786">
                  <a:extLst>
                    <a:ext uri="{9D8B030D-6E8A-4147-A177-3AD203B41FA5}">
                      <a16:colId xmlns:a16="http://schemas.microsoft.com/office/drawing/2014/main" val="1520429057"/>
                    </a:ext>
                  </a:extLst>
                </a:gridCol>
              </a:tblGrid>
              <a:tr h="427048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DISCONTINUING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RECOMMENDED TRANSITION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721608"/>
                  </a:ext>
                </a:extLst>
              </a:tr>
              <a:tr h="1342486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</a:t>
                      </a:r>
                      <a:r>
                        <a:rPr lang="en-US" sz="15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fontAlgn="auto">
                        <a:buFont typeface="Arial" panose="020B0604020202020204" pitchFamily="34" charset="0"/>
                        <a:buNone/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ired with 30” Pro Range (all fuels)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​HMDW30WS - 30" Masterpiece® Under Cabinet Drawer Wall Hood, 600 CFM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MCB30WS - 30" Masterpiece® Pyramid Chimney Wall Hood, 600 CFM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DDB30WS - 30" Masterpiece® Drawer Chimney Wall Hood, 600 CFM</a:t>
                      </a:r>
                    </a:p>
                    <a:p>
                      <a:pPr marL="0" lvl="0" indent="0" algn="l" fontAlgn="auto">
                        <a:buFont typeface="Arial" panose="020B0604020202020204" pitchFamily="34" charset="0"/>
                        <a:buNone/>
                      </a:pP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l" fontAlgn="auto">
                        <a:buFont typeface="Arial" panose="020B0604020202020204" pitchFamily="34" charset="0"/>
                        <a:buNone/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ired with 30” Pro Range Induction Range Only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CIB30ZS  - 30" Masterpiece Series Custom Insert, 300 CFM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805267"/>
                  </a:ext>
                </a:extLst>
              </a:tr>
              <a:tr h="1342486">
                <a:tc>
                  <a:txBody>
                    <a:bodyPr/>
                    <a:lstStyle/>
                    <a:p>
                      <a:pPr algn="l" fontAlgn="auto"/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CIN42GWS - 42" Professional Custom Insert, Optional Blower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36GWS - 36" Pro Grand® Wall Hood, Optional Blower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36HWS - 36" Pro Harmony® Wall Hood, Optional Blower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HMWB361WS - 36" Masterpiece® Low-Profile Wall Hood, 1000 CFM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HMWB36WS - 36" Masterpiece® Low-Profile Wall Hood, 600 CFM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5316771"/>
                  </a:ext>
                </a:extLst>
              </a:tr>
              <a:tr h="1342486">
                <a:tc>
                  <a:txBody>
                    <a:bodyPr/>
                    <a:lstStyle/>
                    <a:p>
                      <a:pPr algn="l" fontAlgn="auto"/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VCIN54GWS - 54" Professional Custom Insert, Optional Blower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PH48GWS - 48" Pro Grand® Wall Hood, Optional Blower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PH48HWS - 48" Pro Harmony® Wall Hood, Optional Blower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HMWB481WS - 48" Masterpiece® Low-Profile Wall Hood, 1000 CFM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HPCN48W - 48" Professional® Chimney Wall Hood, Optional Blower</a:t>
                      </a:r>
                    </a:p>
                    <a:p>
                      <a:pPr marL="285750" lvl="0" indent="-285750" algn="l" fontAlgn="auto">
                        <a:buFont typeface="Arial" panose="020B0604020202020204" pitchFamily="34" charset="0"/>
                        <a:buChar char="•"/>
                      </a:pP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6035689"/>
                  </a:ext>
                </a:extLst>
              </a:tr>
            </a:tbl>
          </a:graphicData>
        </a:graphic>
      </p:graphicFrame>
      <p:sp>
        <p:nvSpPr>
          <p:cNvPr id="7" name="Rectangle 9">
            <a:extLst>
              <a:ext uri="{FF2B5EF4-FFF2-40B4-BE49-F238E27FC236}">
                <a16:creationId xmlns:a16="http://schemas.microsoft.com/office/drawing/2014/main" id="{3E023288-B34B-443F-8E30-9D56B2F1F1D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78100" y="221773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TextBox 8">
            <a:extLst>
              <a:ext uri="{FF2B5EF4-FFF2-40B4-BE49-F238E27FC236}">
                <a16:creationId xmlns:a16="http://schemas.microsoft.com/office/drawing/2014/main" id="{A771593F-3B56-63FC-ED42-2C82365A98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80950" y="2030052"/>
            <a:ext cx="311801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PH30HWS</a:t>
            </a:r>
          </a:p>
          <a:p>
            <a:r>
              <a:rPr lang="en-US" sz="1600" dirty="0"/>
              <a:t>Pro 24" Depth Wall Hood, 30" Wide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11/30/2024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92A86C-D480-B56E-309B-2E7DC492C278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618" y="2145805"/>
            <a:ext cx="1247951" cy="72400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6031C30-58DC-A7E5-1C5E-1B8644563A2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780950" y="3589247"/>
            <a:ext cx="3118019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PH42GWS</a:t>
            </a:r>
          </a:p>
          <a:p>
            <a:r>
              <a:rPr lang="en-US" sz="1600" dirty="0"/>
              <a:t>42" PRO-GRAND HOOD WALL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11/30/2024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4A8DD6-70BD-D0AC-DF23-202303C59C37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618" y="3638666"/>
            <a:ext cx="1504575" cy="724006"/>
          </a:xfrm>
          <a:prstGeom prst="rect">
            <a:avLst/>
          </a:prstGeom>
        </p:spPr>
      </p:pic>
      <p:sp>
        <p:nvSpPr>
          <p:cNvPr id="13" name="TextBox 8">
            <a:extLst>
              <a:ext uri="{FF2B5EF4-FFF2-40B4-BE49-F238E27FC236}">
                <a16:creationId xmlns:a16="http://schemas.microsoft.com/office/drawing/2014/main" id="{2E00856A-6D01-A1F0-8B0C-6177A041A90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780950" y="4807174"/>
            <a:ext cx="311801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PH54GWS</a:t>
            </a:r>
          </a:p>
          <a:p>
            <a:r>
              <a:rPr lang="en-US" sz="1600" dirty="0"/>
              <a:t>54in PRO GRAND HOOD WALL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11/30/2024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2828339-1252-FC50-B979-47320B669051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618" y="4942799"/>
            <a:ext cx="1932091" cy="808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2759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0918E-D74F-A433-0321-AE8D42D8E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Ventilation – Island Hoo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0898F8-1AE5-B373-4C42-8C1865517E98}"/>
              </a:ext>
            </a:extLst>
          </p:cNvPr>
          <p:cNvSpPr txBox="1"/>
          <p:nvPr/>
        </p:nvSpPr>
        <p:spPr>
          <a:xfrm>
            <a:off x="610172" y="942830"/>
            <a:ext cx="10577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te: Phase-out low volume SKUs to optimize the portfolio</a:t>
            </a:r>
            <a:endParaRPr lang="en-US" b="1" u="sng" dirty="0">
              <a:solidFill>
                <a:srgbClr val="0000CC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B13C1C4-AAEF-C891-40DD-2C88D14207B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7678031"/>
              </p:ext>
            </p:extLst>
          </p:nvPr>
        </p:nvGraphicFramePr>
        <p:xfrm>
          <a:off x="734663" y="1447800"/>
          <a:ext cx="10722674" cy="3232574"/>
        </p:xfrm>
        <a:graphic>
          <a:graphicData uri="http://schemas.openxmlformats.org/drawingml/2006/table">
            <a:tbl>
              <a:tblPr/>
              <a:tblGrid>
                <a:gridCol w="5361337">
                  <a:extLst>
                    <a:ext uri="{9D8B030D-6E8A-4147-A177-3AD203B41FA5}">
                      <a16:colId xmlns:a16="http://schemas.microsoft.com/office/drawing/2014/main" val="994613205"/>
                    </a:ext>
                  </a:extLst>
                </a:gridCol>
                <a:gridCol w="5361337">
                  <a:extLst>
                    <a:ext uri="{9D8B030D-6E8A-4147-A177-3AD203B41FA5}">
                      <a16:colId xmlns:a16="http://schemas.microsoft.com/office/drawing/2014/main" val="1520429057"/>
                    </a:ext>
                  </a:extLst>
                </a:gridCol>
              </a:tblGrid>
              <a:tr h="427048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DISCONTINUING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RECOMMENDED TRANSITION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721608"/>
                  </a:ext>
                </a:extLst>
              </a:tr>
              <a:tr h="1342486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</a:t>
                      </a:r>
                      <a:r>
                        <a:rPr lang="en-US" sz="15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VCIN54GWS - 54" Professional Custom Insert, Optional Blower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805267"/>
                  </a:ext>
                </a:extLst>
              </a:tr>
              <a:tr h="1342486">
                <a:tc>
                  <a:txBody>
                    <a:bodyPr/>
                    <a:lstStyle/>
                    <a:p>
                      <a:pPr algn="l" fontAlgn="auto"/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HMIB42WS - 42" Masterpiece® Box Island Hood, 600 CFM</a:t>
                      </a:r>
                    </a:p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VCIN42GWS - 42" Professional Custom Insert, Optional Blower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9993247"/>
                  </a:ext>
                </a:extLst>
              </a:tr>
            </a:tbl>
          </a:graphicData>
        </a:graphic>
      </p:graphicFrame>
      <p:sp>
        <p:nvSpPr>
          <p:cNvPr id="7" name="Rectangle 9">
            <a:extLst>
              <a:ext uri="{FF2B5EF4-FFF2-40B4-BE49-F238E27FC236}">
                <a16:creationId xmlns:a16="http://schemas.microsoft.com/office/drawing/2014/main" id="{3E023288-B34B-443F-8E30-9D56B2F1F1D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78100" y="221773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TextBox 8">
            <a:extLst>
              <a:ext uri="{FF2B5EF4-FFF2-40B4-BE49-F238E27FC236}">
                <a16:creationId xmlns:a16="http://schemas.microsoft.com/office/drawing/2014/main" id="{A771593F-3B56-63FC-ED42-2C82365A98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78316" y="1980581"/>
            <a:ext cx="311801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HPIN54WS</a:t>
            </a:r>
          </a:p>
          <a:p>
            <a:r>
              <a:rPr lang="en-US" sz="1600" dirty="0"/>
              <a:t>54" Professional® Island Hood, Optional Blower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11/30/2024</a:t>
            </a: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99406490-A0E1-C84F-668A-AED7E7A6667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907949" y="3338291"/>
            <a:ext cx="311801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HPIN42WS</a:t>
            </a:r>
          </a:p>
          <a:p>
            <a:r>
              <a:rPr lang="en-US" sz="1600" dirty="0"/>
              <a:t>42" Professional® Island Hood, Optional Blower</a:t>
            </a:r>
          </a:p>
          <a:p>
            <a:r>
              <a:rPr lang="en-US" sz="1600" dirty="0">
                <a:solidFill>
                  <a:srgbClr val="FF0000"/>
                </a:solidFill>
              </a:rPr>
              <a:t>DISCONTINUING: 11/30/2024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5CCCFFB-AEBE-D9AD-45C4-0367DCC12359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663" y="2042102"/>
            <a:ext cx="1689653" cy="98495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74539D9-E09A-9CCF-BBA3-6536F7A895A0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569" y="3354668"/>
            <a:ext cx="1611831" cy="1075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2620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0918E-D74F-A433-0321-AE8D42D8E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torage Draw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0898F8-1AE5-B373-4C42-8C1865517E98}"/>
              </a:ext>
            </a:extLst>
          </p:cNvPr>
          <p:cNvSpPr txBox="1"/>
          <p:nvPr/>
        </p:nvSpPr>
        <p:spPr>
          <a:xfrm>
            <a:off x="610172" y="942830"/>
            <a:ext cx="10577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te: Phase-out low volume SKUs to optimize the portfolio</a:t>
            </a:r>
            <a:endParaRPr lang="en-US" b="1" u="sng" dirty="0">
              <a:solidFill>
                <a:srgbClr val="0000CC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B13C1C4-AAEF-C891-40DD-2C88D14207B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6496625"/>
              </p:ext>
            </p:extLst>
          </p:nvPr>
        </p:nvGraphicFramePr>
        <p:xfrm>
          <a:off x="734663" y="1447800"/>
          <a:ext cx="10722674" cy="3112020"/>
        </p:xfrm>
        <a:graphic>
          <a:graphicData uri="http://schemas.openxmlformats.org/drawingml/2006/table">
            <a:tbl>
              <a:tblPr/>
              <a:tblGrid>
                <a:gridCol w="5361337">
                  <a:extLst>
                    <a:ext uri="{9D8B030D-6E8A-4147-A177-3AD203B41FA5}">
                      <a16:colId xmlns:a16="http://schemas.microsoft.com/office/drawing/2014/main" val="994613205"/>
                    </a:ext>
                  </a:extLst>
                </a:gridCol>
                <a:gridCol w="5361337">
                  <a:extLst>
                    <a:ext uri="{9D8B030D-6E8A-4147-A177-3AD203B41FA5}">
                      <a16:colId xmlns:a16="http://schemas.microsoft.com/office/drawing/2014/main" val="1520429057"/>
                    </a:ext>
                  </a:extLst>
                </a:gridCol>
              </a:tblGrid>
              <a:tr h="427048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DISCONTINUING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Bosch Office Sans" pitchFamily="2" charset="0"/>
                        </a:rPr>
                        <a:t>RECOMMENDED TRANSITION SKU​</a:t>
                      </a:r>
                      <a:endParaRPr lang="en-US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721608"/>
                  </a:ext>
                </a:extLst>
              </a:tr>
              <a:tr h="1342486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</a:t>
                      </a:r>
                      <a:r>
                        <a:rPr lang="en-US" sz="15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​Continue sales until the existing inventory is depleted around December 2026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805267"/>
                  </a:ext>
                </a:extLst>
              </a:tr>
              <a:tr h="1342486">
                <a:tc>
                  <a:txBody>
                    <a:bodyPr/>
                    <a:lstStyle/>
                    <a:p>
                      <a:pPr algn="l" fontAlgn="auto"/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Bosch Office Sans" pitchFamily="2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osch Office Sans" pitchFamily="2" charset="0"/>
                        </a:rPr>
                        <a:t>Continue sales until the existing inventory is depleted around June 2025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6046564"/>
                  </a:ext>
                </a:extLst>
              </a:tr>
            </a:tbl>
          </a:graphicData>
        </a:graphic>
      </p:graphicFrame>
      <p:sp>
        <p:nvSpPr>
          <p:cNvPr id="7" name="Rectangle 9">
            <a:extLst>
              <a:ext uri="{FF2B5EF4-FFF2-40B4-BE49-F238E27FC236}">
                <a16:creationId xmlns:a16="http://schemas.microsoft.com/office/drawing/2014/main" id="{3E023288-B34B-443F-8E30-9D56B2F1F1D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78100" y="221773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1A4277E1-626C-4C4B-2FAC-A478990C482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80950" y="1980581"/>
            <a:ext cx="3315050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SDS30WC</a:t>
            </a:r>
          </a:p>
          <a:p>
            <a:r>
              <a:rPr lang="en-US" sz="1600" dirty="0"/>
              <a:t>30-Inch Short Storage Drawer, Stainless Steel</a:t>
            </a:r>
          </a:p>
          <a:p>
            <a:r>
              <a:rPr lang="en-US" sz="1600" dirty="0">
                <a:solidFill>
                  <a:srgbClr val="FF0000"/>
                </a:solidFill>
              </a:rPr>
              <a:t>END OF PRODUCTION: Q4 202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5460A8-160F-9A03-9A7D-A634B5E317D7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460" y="2406194"/>
            <a:ext cx="1894507" cy="311342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7FBECF28-F179-B394-3BCB-6C9274C5AE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780950" y="3304517"/>
            <a:ext cx="3315050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1pPr>
            <a:lvl2pPr marL="41113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2pPr>
            <a:lvl3pPr marL="8222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3pPr>
            <a:lvl4pPr marL="123341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4pPr>
            <a:lvl5pPr marL="164454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5pPr>
            <a:lvl6pPr marL="2055686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6pPr>
            <a:lvl7pPr marL="2466823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7pPr>
            <a:lvl8pPr marL="2877960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8pPr>
            <a:lvl9pPr marL="3289097" algn="l" defTabSz="822275" rtl="0" eaLnBrk="1" latinLnBrk="0" hangingPunct="1">
              <a:defRPr kern="1200">
                <a:solidFill>
                  <a:schemeClr val="tx1"/>
                </a:solidFill>
                <a:latin typeface="Bosch Office Sans" pitchFamily="34" charset="0"/>
                <a:ea typeface="+mn-ea"/>
                <a:cs typeface="+mn-cs"/>
              </a:defRPr>
            </a:lvl9pPr>
          </a:lstStyle>
          <a:p>
            <a:r>
              <a:rPr lang="en-US" b="1" dirty="0"/>
              <a:t>SD30WC</a:t>
            </a:r>
          </a:p>
          <a:p>
            <a:r>
              <a:rPr lang="en-US" sz="1600" dirty="0"/>
              <a:t>30-Inch Storage Drawer, Stainless Steel</a:t>
            </a:r>
          </a:p>
          <a:p>
            <a:r>
              <a:rPr lang="en-US" sz="1600" dirty="0">
                <a:solidFill>
                  <a:srgbClr val="FF0000"/>
                </a:solidFill>
              </a:rPr>
              <a:t>END OF PRODUCTION: Q4 2024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8AB6CC3-6E82-D265-63AF-0F37A6E884E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460" y="3537805"/>
            <a:ext cx="1894507" cy="654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624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3ITTC5YEpEsBOnw4sI4pMEAAAAAAADAAAAAAADAAAAAwADAAIA////////BQAAAAMAEAALItweWBgi6EinCgGOwOQDYQQAAAABAAMAAAACAAMAAAAEAAMAAAAAAP///////wQAAQD///////8FAAAABAAQAAuIlsTEkYm6RpYFMX30tyV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/chNMLlgSkSwE6fDiwjikwNEYXRhABsAAAAETGlua2VkU2hhcGVEYXRhAAUAAAAAAAJOYW1lABkAAABMaW5rZWRTaGFwZXNEYXRhUHJvcGVydHkAEFZlcnNpb24AAAAAAAlMYXN0V3JpdGUAjUVO4JABAAAAAQD/////xgDGAAAABV9pZAAQAAAABCLcHlgYIuhIpwoBjsDkA2EDRGF0YQBTAAAACFByZXNlbnRhdGlvblNjYW5uZWRGb3JMaW5rZWRTaGFwZXMAAAJOdW1iZXJGb3JtYXRTZXBhcmF0b3JNb2RlAAoAAABBdXRvbWF0aWMAAAJOYW1lACQAAABMaW5rZWRTaGFwZVByZXNlbnRhdGlvblNldHRpbmdzRGF0YQAQVmVyc2lvbgAAAAAACUxhc3RXcml0ZQD2RU7gkAEAAAACAP////+DAIMAAAAFX2lkABAAAAAEiJbExJGJukaWBTF99LclYANEYXRhABsAAAAETGlua2VkU2hhcGVEYXRhAAUAAAAAAAJOYW1lABkAAABMaW5rZWRTaGFwZXNEYXRhUHJvcGVydHkAEFZlcnNpb24AAQAAAAlMYXN0V3JpdGUA4UVO4J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AwAFAAAABAADAAIBAwAAAAMA////////JQAGTGlua2VkU2hhcGVQcmVzZW50YXRpb25TZXR0aW5nc0RhdGFfMAQAAAABAAUAAAAAAAUAAAACAAUAAAAAAP///////wQAAQEDAAAABAD///////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73469446238163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/////wUA2gsAAAAAAAAAAAAAIAD///////////////8AAAD///////////////8DAAAABA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6ubGllaDbVGoEti1SGBpvsEAAAAAAADAAAABAADAAAAAwADAAYA////////BQAAAAMAEAALvFT6Zi50nkyRjwZwiLRnAQQAAAABAAMAAAACAAMAAAABAAMAAAAAAP///////wMAAAAAAP///////wMAAAAAAP///////wMAAAAAAP///////wMAAAAAAP///////wQAAQD///////8FAAAABAAQAAtV0L9T7kDdQpyP7Po0Y1m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q5saWVoNtUagS2LVIYGm+wREYXRhAAUAAAAAAk5hbWUADQAAAExpbmtEYXRhTGlzdAAQVmVyc2lvbgABAAAACUxhc3RXcml0ZQBNDXAgkgEAAAABAP////9hAGEAAAAFX2lkABAAAAAEvFT6Zi50nkyRjwZwiLRnAQREYXRhAAUAAAAAAk5hbWUADQAAAExpbmtEYXRhTGlzdAAQVmVyc2lvbgAAAAAACUxhc3RXcml0ZQAkDXAgkgEAAAACAP////9wAHAAAAAFX2lkABAAAAAEVdC/U+5A3UKcj+z6NGNZoQNEYXRhABYAAAACUGVyc29uYWxJZAABAAAAAAACTmFtZQALAAAAUGVyc29uYWxJZAAQVmVyc2lvbgAAAAAACUxhc3RXcml0ZQCqDXAg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DAP///////wUAAAADAP///////wUAAAAD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AFAAAABAAFAAAAAAAFAAAABAAEAAYBAwAAAAQA////////DAAGUGVyc29uYWxJZF8wBAAAAAIABQAAAAIABQAAAAEABQAAAAMA////////BQAAAAM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178674626946"/>
  <p:tag name="EMPOWERCHARTSPROPERTIES_B_LENGTH" val="24576"/>
  <p:tag name="DOWN_MIGRATION_INITIAL_LAYOUT_REQUIRED" val="9.2.99"/>
  <p:tag name="RUNTIME_ID" val="b1913c18-fb3a-4bf2-8a8e-c06f9b0dbf9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8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wxL4hQCGbNJvdvAnSzkIb0EAAAAAAADAAAAAAADAAAAAwADAAAAAAD///////8DAAAAAAD///////8DAAAAAAD///////8DAAEA////////BQAAAAMAEAALt9NmINfKSkuB55W6CjO1hAQAAAABAAMAAAACAAMAAAAEAAQAAQD///////8FAAAABAAQAAuKIsCVIB1oTb0bJfUpXq3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DEviFAIZs0m928CdLOQhvQREYXRhAAUAAAAAAk5hbWUADQAAAExpbmtEYXRhTGlzdAAQVmVyc2lvbgAAAAAACUxhc3RXcml0ZQDe1qcgkgEAAAABAP////9hAGEAAAAFX2lkABAAAAAEt9NmINfKSkuB55W6CjO1hAREYXRhAAUAAAAAAk5hbWUADQAAAExpbmtEYXRhTGlzdAAQVmVyc2lvbgABAAAACUxhc3RXcml0ZQDg1qcgkgEAAAACAP////9wAHAAAAAFX2lkABAAAAAEiiLAlSAdaE29GyX1KV6t7ANEYXRhABYAAAACUGVyc29uYWxJZAABAAAAAAACTmFtZQALAAAAUGVyc29uYWxJZAAQVmVyc2lvbgAAAAAACUxhc3RXcml0ZQD/1qcg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D///////8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215234874371"/>
  <p:tag name="EMPOWERCHARTSPROPERTIES_B_LENGTH" val="24576"/>
  <p:tag name="DOWN_MIGRATION_INITIAL_LAYOUT_REQUIRED" val="9.2.99"/>
  <p:tag name="RUNTIME_ID" val="e2babd8b-a69d-409c-811c-b12ff966a73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/////wUA8gsAAAAAAAAAAAAAIAD///////////////8AAAD////////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9Q3B8v8YuRGmSXtL7lclM8EAAAAAAADAAAABAADAAAAAwADAAAABAD///////8DAAEA////////BQAAAAMAEAALCnEa5r9sXUmqYZYzE2N/JgQAAAABAAMAAAACAAMAAAABAAQAAwD///////8FAAAABAAQAAsjuUFu7y6bS5q1NQE8CcuZBAAAAAIAAwAAAAAAAwAAAAIAAwAAAAAAAwAAAAI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1DcHy/xi5EaZJe0vuVyUzwREYXRhAAUAAAAAAk5hbWUADQAAAExpbmtEYXRhTGlzdAAQVmVyc2lvbgAAAAAACUxhc3RXcml0ZQB916cgkgEAAAABAP////9hAGEAAAAFX2lkABAAAAAECnEa5r9sXUmqYZYzE2N/JgREYXRhAAUAAAAAAk5hbWUADQAAAExpbmtEYXRhTGlzdAAQVmVyc2lvbgABAAAACUxhc3RXcml0ZQB+16cgkgEAAAACAP////9wAHAAAAAFX2lkABAAAAAEI7lBbu8um0uatTUBPAnLmQNEYXRhABYAAAACUGVyc29uYWxJZAABAAAAAAACTmFtZQALAAAAUGVyc29uYWxJZAAQVmVyc2lvbgAAAAAACUxhc3RXcml0ZQCn16cg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UBAwAAAAQA////////DAAGUGVyc29uYWxJZF8wBAAAAAIABQAAAAMABQAAAAEABQAAAAI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215236544849"/>
  <p:tag name="EMPOWERCHARTSPROPERTIES_B_LENGTH" val="24576"/>
  <p:tag name="DOWN_MIGRATION_INITIAL_LAYOUT_REQUIRED" val="9.2.99"/>
  <p:tag name="RUNTIME_ID" val="89448b79-4d2f-4be4-9f3d-08f1471eb1db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WHenUoEG9Ngmj4UJenieQEAAAAAAADAAAAAAADAAAABAADAAEA////////BQAAAAMAEAALNn4Y4MZz+0imuuYfXhwu0AQAAAABAAMAAAAEAAMAAAABAAQAAgD///////8FAAAABAAQAAsZwZJ7xK27RYG9KMBgnzTgBAAAAAIAAwAAAAIAAwAAAAM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Yd6dSgQb02CaPhQl6eJ5AREYXRhAAUAAAAAAk5hbWUADQAAAExpbmtEYXRhTGlzdAAQVmVyc2lvbgAAAAAACUxhc3RXcml0ZQDE+mcKkQEAAAABAP////9hAGEAAAAFX2lkABAAAAAENn4Y4MZz+0imuuYfXhwu0AREYXRhAAUAAAAAAk5hbWUADQAAAExpbmtEYXRhTGlzdAAQVmVyc2lvbgABAAAACUxhc3RXcml0ZQDJ+mcKkQEAAAACAP////9wAHAAAAAFX2lkABAAAAAEGcGSe8Stu0WBvSjAYJ804ANEYXRhABYAAAACUGVyc29uYWxJZAABAAAAAAACTmFtZQALAAAAUGVyc29uYWxJZAAQVmVyc2lvbgAAAAAACUxhc3RXcml0ZQD1+m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MBAwAAAAQA////////DAAGUGVyc29uYWxJZF8wBAAAAAIABQAAAAM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3353578"/>
  <p:tag name="EMPOWERCHARTSPROPERTIES_B_LENGTH" val="24576"/>
  <p:tag name="DOWN_MIGRATION_INITIAL_LAYOUT_REQUIRED" val="9.2.99"/>
  <p:tag name="RUNTIME_ID" val="bb107b84-7aee-4389-8f7b-0f68afcdaaa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wANDi9WOhhCjx2FiiCIrtwEAAAAAAADAAAAAAADAAAAAwADAAAAAAADAAAAAwADAAAAAAADAAAAAwADAAAAAAD///////8DAAMA////////BQAAAAMAEAAL8gqQTyE850eV5DVVNdXzNwQAAAABAAMAAAACAAMAAAAEAAMAAAACAAMAAAAEAAMAAAACAP///////wQAAgD///////8FAAAABAAQAAv6nXnj4SfPRZXSMm/cMxO5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A0OL1Y6GEKPHYWKIIiu3AREYXRhAAUAAAAAAk5hbWUADQAAAExpbmtEYXRhTGlzdAAQVmVyc2lvbgABAAAACUxhc3RXcml0ZQAg+2cKkQEAAAABAP////9hAGEAAAAFX2lkABAAAAAE8gqQTyE850eV5DVVNdXzNwREYXRhAAUAAAAAAk5hbWUADQAAAExpbmtEYXRhTGlzdAAQVmVyc2lvbgAAAAAACUxhc3RXcml0ZQAf+2cKkQEAAAACAP////9wAHAAAAAFX2lkABAAAAAE+p154+Enz0WV0jJv3DMTuQNEYXRhABYAAAACUGVyc29uYWxJZAABAAAAAAACTmFtZQALAAAAUGVyc29uYWxJZAAQVmVyc2lvbgAAAAAACUxhc3RXcml0ZQA++2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wAFAAAABAAFAAAAAwD///////8FAAAAAAD///////8DAAMBAwAAAAMA////////DgAGTGlua0RhdGFMaXN0XzAEAAAAAQAFAAAAAAAFAAAAAgAFAAAAAAAFAAAAAg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4102915"/>
  <p:tag name="EMPOWERCHARTSPROPERTIES_B_LENGTH" val="24576"/>
  <p:tag name="DOWN_MIGRATION_INITIAL_LAYOUT_REQUIRED" val="9.2.99"/>
  <p:tag name="RUNTIME_ID" val="db31642b-72fa-45dc-9a34-3a05a455906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wg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79jTKG/saFGlZ0+4lp6M1cEAAAAAAADAAAAAAADAAAAAwADAAAAAAADAAAAAwADAAAAAAADAAAAAwADAAAAAAD///////8DAAAAAAD///////8DAAMA////////BQAAAAMAEAALilp34U/9GUKHK5uOZKH86QQAAAABAAMAAAACAAMAAAAEAAMAAAACAAMAAAAEAAMAAAACAP///////wQAAgD///////8FAAAABAAQAAvXbV/9/lMyQaWqeWnar7xq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2NMob+xoUaVnT7iWnozVwREYXRhAAUAAAAAAk5hbWUADQAAAExpbmtEYXRhTGlzdAAQVmVyc2lvbgABAAAACUxhc3RXcml0ZQA2DnAgkgEAAAABAP////9hAGEAAAAFX2lkABAAAAAEilp34U/9GUKHK5uOZKH86QREYXRhAAUAAAAAAk5hbWUADQAAAExpbmtEYXRhTGlzdAAQVmVyc2lvbgAAAAAACUxhc3RXcml0ZQA1DnAgkgEAAAACAP////9wAHAAAAAFX2lkABAAAAAE121f/f5TMkGlqnlp2q+8agNEYXRhABYAAAACUGVyc29uYWxJZAABAAAAAAACTmFtZQALAAAAUGVyc29uYWxJZAAQVmVyc2lvbgAAAAAACUxhc3RXcml0ZQBjDnAg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EEAAAAAAAFAAAAAwAFAAAABAAFAAAAAwD///////8FAAAAAwD///////8FAAAAAAD///////8FAAAAAAD///////8DAAMBAwAAAAMA////////DgAGTGlua0RhdGFMaXN0XzAEAAAAAQAFAAAAAAAFAAAAAg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178676494036"/>
  <p:tag name="EMPOWERCHARTSPROPERTIES_B_LENGTH" val="24576"/>
  <p:tag name="DOWN_MIGRATION_INITIAL_LAYOUT_REQUIRED" val="9.2.99"/>
  <p:tag name="RUNTIME_ID" val="6e08997d-4a43-4076-b940-4baeb5c6a5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wg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79jTKG/saFGlZ0+4lp6M1cEAAAAAAADAAAAAAADAAAAAwADAAAAAAADAAAAAwADAAAAAAADAAAAAwADAAAAAAD///////8DAAAAAAD///////8DAAMA////////BQAAAAMAEAALilp34U/9GUKHK5uOZKH86QQAAAABAAMAAAACAAMAAAAEAAMAAAACAAMAAAAEAAMAAAACAP///////wQAAgD///////8FAAAABAAQAAvXbV/9/lMyQaWqeWnar7xq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2NMob+xoUaVnT7iWnozVwREYXRhAAUAAAAAAk5hbWUADQAAAExpbmtEYXRhTGlzdAAQVmVyc2lvbgABAAAACUxhc3RXcml0ZQA2DnAgkgEAAAABAP////9hAGEAAAAFX2lkABAAAAAEilp34U/9GUKHK5uOZKH86QREYXRhAAUAAAAAAk5hbWUADQAAAExpbmtEYXRhTGlzdAAQVmVyc2lvbgAAAAAACUxhc3RXcml0ZQA1DnAgkgEAAAACAP////9wAHAAAAAFX2lkABAAAAAE121f/f5TMkGlqnlp2q+8agNEYXRhABYAAAACUGVyc29uYWxJZAABAAAAAAACTmFtZQALAAAAUGVyc29uYWxJZAAQVmVyc2lvbgAAAAAACUxhc3RXcml0ZQBjDnAg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EEAAAAAAAFAAAAAwAFAAAABAAFAAAAAwD///////8FAAAAAwD///////8FAAAAAAD///////8FAAAAAAD///////8DAAMBAwAAAAMA////////DgAGTGlua0RhdGFMaXN0XzAEAAAAAQAFAAAAAAAFAAAAAg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178676494036"/>
  <p:tag name="EMPOWERCHARTSPROPERTIES_B_LENGTH" val="24576"/>
  <p:tag name="DOWN_MIGRATION_INITIAL_LAYOUT_REQUIRED" val="9.2.99"/>
  <p:tag name="RUNTIME_ID" val="1ce58429-3ec8-4fb8-b996-36040e2fc3a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wg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79jTKG/saFGlZ0+4lp6M1cEAAAAAAADAAAAAAADAAAAAwADAAAAAAADAAAAAwADAAAAAAADAAAAAwADAAAAAAD///////8DAAAAAAD///////8DAAMA////////BQAAAAMAEAALilp34U/9GUKHK5uOZKH86QQAAAABAAMAAAACAAMAAAAEAAMAAAACAAMAAAAEAAMAAAACAP///////wQAAgD///////8FAAAABAAQAAvXbV/9/lMyQaWqeWnar7xq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2NMob+xoUaVnT7iWnozVwREYXRhAAUAAAAAAk5hbWUADQAAAExpbmtEYXRhTGlzdAAQVmVyc2lvbgABAAAACUxhc3RXcml0ZQA2DnAgkgEAAAABAP////9hAGEAAAAFX2lkABAAAAAEilp34U/9GUKHK5uOZKH86QREYXRhAAUAAAAAAk5hbWUADQAAAExpbmtEYXRhTGlzdAAQVmVyc2lvbgAAAAAACUxhc3RXcml0ZQA1DnAgkgEAAAACAP////9wAHAAAAAFX2lkABAAAAAE121f/f5TMkGlqnlp2q+8agNEYXRhABYAAAACUGVyc29uYWxJZAABAAAAAAACTmFtZQALAAAAUGVyc29uYWxJZAAQVmVyc2lvbgAAAAAACUxhc3RXcml0ZQBjDnAg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EEAAAAAAAFAAAAAwAFAAAABAAFAAAAAwD///////8FAAAAAwD///////8FAAAAAAD///////8FAAAAAAD///////8DAAMBAwAAAAMA////////DgAGTGlua0RhdGFMaXN0XzAEAAAAAQAFAAAAAAAFAAAAAg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178676494036"/>
  <p:tag name="EMPOWERCHARTSPROPERTIES_B_LENGTH" val="24576"/>
  <p:tag name="DOWN_MIGRATION_INITIAL_LAYOUT_REQUIRED" val="9.2.99"/>
  <p:tag name="RUNTIME_ID" val="e71ac229-246d-4cd0-910f-ed8dcc93a2e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WHenUoEG9Ngmj4UJenieQEAAAAAAADAAAAAAADAAAABAADAAEA////////BQAAAAMAEAALNn4Y4MZz+0imuuYfXhwu0AQAAAABAAMAAAAEAAMAAAABAAQAAgD///////8FAAAABAAQAAsZwZJ7xK27RYG9KMBgnzTgBAAAAAIAAwAAAAIAAwAAAAM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Yd6dSgQb02CaPhQl6eJ5AREYXRhAAUAAAAAAk5hbWUADQAAAExpbmtEYXRhTGlzdAAQVmVyc2lvbgAAAAAACUxhc3RXcml0ZQDE+mcKkQEAAAABAP////9hAGEAAAAFX2lkABAAAAAENn4Y4MZz+0imuuYfXhwu0AREYXRhAAUAAAAAAk5hbWUADQAAAExpbmtEYXRhTGlzdAAQVmVyc2lvbgABAAAACUxhc3RXcml0ZQDJ+mcKkQEAAAACAP////9wAHAAAAAFX2lkABAAAAAEGcGSe8Stu0WBvSjAYJ804ANEYXRhABYAAAACUGVyc29uYWxJZAABAAAAAAACTmFtZQALAAAAUGVyc29uYWxJZAAQVmVyc2lvbgAAAAAACUxhc3RXcml0ZQD1+m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MBAwAAAAQA////////DAAGUGVyc29uYWxJZF8wBAAAAAIABQAAAAM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3353578"/>
  <p:tag name="EMPOWERCHARTSPROPERTIES_B_LENGTH" val="24576"/>
  <p:tag name="DOWN_MIGRATION_INITIAL_LAYOUT_REQUIRED" val="9.2.99"/>
  <p:tag name="RUNTIME_ID" val="0d26a070-3f4f-4a43-a168-8da3e57b2ea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wANDi9WOhhCjx2FiiCIrtwEAAAAAAADAAAAAAADAAAAAwADAAAAAAADAAAAAwADAAAAAAADAAAAAwADAAAAAAD///////8DAAMA////////BQAAAAMAEAAL8gqQTyE850eV5DVVNdXzNwQAAAABAAMAAAACAAMAAAAEAAMAAAACAAMAAAAEAAMAAAACAP///////wQAAgD///////8FAAAABAAQAAv6nXnj4SfPRZXSMm/cMxO5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A0OL1Y6GEKPHYWKIIiu3AREYXRhAAUAAAAAAk5hbWUADQAAAExpbmtEYXRhTGlzdAAQVmVyc2lvbgABAAAACUxhc3RXcml0ZQAg+2cKkQEAAAABAP////9hAGEAAAAFX2lkABAAAAAE8gqQTyE850eV5DVVNdXzNwREYXRhAAUAAAAAAk5hbWUADQAAAExpbmtEYXRhTGlzdAAQVmVyc2lvbgAAAAAACUxhc3RXcml0ZQAf+2cKkQEAAAACAP////9wAHAAAAAFX2lkABAAAAAE+p154+Enz0WV0jJv3DMTuQNEYXRhABYAAAACUGVyc29uYWxJZAABAAAAAAACTmFtZQALAAAAUGVyc29uYWxJZAAQVmVyc2lvbgAAAAAACUxhc3RXcml0ZQA++2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wAFAAAABAAFAAAAAwD///////8FAAAAAAD///////8DAAMBAwAAAAMA////////DgAGTGlua0RhdGFMaXN0XzAEAAAAAQAFAAAAAAAFAAAAAgAFAAAAAAAFAAAAAg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4102915"/>
  <p:tag name="EMPOWERCHARTSPROPERTIES_B_LENGTH" val="24576"/>
  <p:tag name="DOWN_MIGRATION_INITIAL_LAYOUT_REQUIRED" val="9.2.99"/>
  <p:tag name="RUNTIME_ID" val="db31642b-72fa-45dc-9a34-3a05a45590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WHenUoEG9Ngmj4UJenieQEAAAAAAADAAAAAAADAAAABAADAAEA////////BQAAAAMAEAALNn4Y4MZz+0imuuYfXhwu0AQAAAABAAMAAAAEAAMAAAABAAQAAgD///////8FAAAABAAQAAsZwZJ7xK27RYG9KMBgnzTgBAAAAAIAAwAAAAIAAwAAAAM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Yd6dSgQb02CaPhQl6eJ5AREYXRhAAUAAAAAAk5hbWUADQAAAExpbmtEYXRhTGlzdAAQVmVyc2lvbgAAAAAACUxhc3RXcml0ZQDE+mcKkQEAAAABAP////9hAGEAAAAFX2lkABAAAAAENn4Y4MZz+0imuuYfXhwu0AREYXRhAAUAAAAAAk5hbWUADQAAAExpbmtEYXRhTGlzdAAQVmVyc2lvbgABAAAACUxhc3RXcml0ZQDJ+mcKkQEAAAACAP////9wAHAAAAAFX2lkABAAAAAEGcGSe8Stu0WBvSjAYJ804ANEYXRhABYAAAACUGVyc29uYWxJZAABAAAAAAACTmFtZQALAAAAUGVyc29uYWxJZAAQVmVyc2lvbgAAAAAACUxhc3RXcml0ZQD1+m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MBAwAAAAQA////////DAAGUGVyc29uYWxJZF8wBAAAAAIABQAAAAM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3353578"/>
  <p:tag name="EMPOWERCHARTSPROPERTIES_B_LENGTH" val="24576"/>
  <p:tag name="DOWN_MIGRATION_INITIAL_LAYOUT_REQUIRED" val="9.2.99"/>
  <p:tag name="RUNTIME_ID" val="0d26a070-3f4f-4a43-a168-8da3e57b2ea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FQ1g7+PndIkKDOieLvMBAEAAAAAAADAAAAAAADAAAAAwADAAMA////////BQAAAAMAEAALbYZaWnsv50u8PupZREqu/wQAAAABAAMAAAACAAMAAAAEAAMAAAAAAAMAAAAEAAMAAAAAAAMAAAAEAAQAAwD///////8FAAAABAAQAAsbkTerJZmtTLTsLxlwaPXe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VDWDv4+d0iQoM6J4u8wEAREYXRhAAUAAAAAAk5hbWUADQAAAExpbmtEYXRhTGlzdAAQVmVyc2lvbgABAAAACUxhc3RXcml0ZQCbKYMKkQEAAAABAP////9hAGEAAAAFX2lkABAAAAAEbYZaWnsv50u8PupZREqu/wREYXRhAAUAAAAAAk5hbWUADQAAAExpbmtEYXRhTGlzdAAQVmVyc2lvbgAAAAAACUxhc3RXcml0ZQCaKYMKkQEAAAACAP////9wAHAAAAAFX2lkABAAAAAEG5E3qyWZrUy07C8ZcGj13gNEYXRhABYAAAACUGVyc29uYWxJZAABAAAAAAACTmFtZQALAAAAUGVyc29uYWxJZAAQVmVyc2lvbgAAAAAACUxhc3RXcml0ZQDlKYM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AFAAAABAAFAAAAAAD///////8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50538255778"/>
  <p:tag name="EMPOWERCHARTSPROPERTIES_B_LENGTH" val="24576"/>
  <p:tag name="DOWN_MIGRATION_INITIAL_LAYOUT_REQUIRED" val="9.2.99"/>
  <p:tag name="RUNTIME_ID" val="b7b71abc-4a40-4d64-94e8-7ed94d963c7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WHenUoEG9Ngmj4UJenieQEAAAAAAADAAAAAAADAAAABAADAAEA////////BQAAAAMAEAALNn4Y4MZz+0imuuYfXhwu0AQAAAABAAMAAAAEAAMAAAABAAQAAgD///////8FAAAABAAQAAsZwZJ7xK27RYG9KMBgnzTgBAAAAAIAAwAAAAIAAwAAAAM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Yd6dSgQb02CaPhQl6eJ5AREYXRhAAUAAAAAAk5hbWUADQAAAExpbmtEYXRhTGlzdAAQVmVyc2lvbgAAAAAACUxhc3RXcml0ZQDE+mcKkQEAAAABAP////9hAGEAAAAFX2lkABAAAAAENn4Y4MZz+0imuuYfXhwu0AREYXRhAAUAAAAAAk5hbWUADQAAAExpbmtEYXRhTGlzdAAQVmVyc2lvbgABAAAACUxhc3RXcml0ZQDJ+mcKkQEAAAACAP////9wAHAAAAAFX2lkABAAAAAEGcGSe8Stu0WBvSjAYJ804ANEYXRhABYAAAACUGVyc29uYWxJZAABAAAAAAACTmFtZQALAAAAUGVyc29uYWxJZAAQVmVyc2lvbgAAAAAACUxhc3RXcml0ZQD1+m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MBAwAAAAQA////////DAAGUGVyc29uYWxJZF8wBAAAAAIABQAAAAM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3353578"/>
  <p:tag name="EMPOWERCHARTSPROPERTIES_B_LENGTH" val="24576"/>
  <p:tag name="DOWN_MIGRATION_INITIAL_LAYOUT_REQUIRED" val="9.2.99"/>
  <p:tag name="RUNTIME_ID" val="0d26a070-3f4f-4a43-a168-8da3e57b2ea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wANDi9WOhhCjx2FiiCIrtwEAAAAAAADAAAAAAADAAAAAwADAAAAAAADAAAAAwADAAAAAAADAAAAAwADAAAAAAD///////8DAAMA////////BQAAAAMAEAAL8gqQTyE850eV5DVVNdXzNwQAAAABAAMAAAACAAMAAAAEAAMAAAACAAMAAAAEAAMAAAACAP///////wQAAgD///////8FAAAABAAQAAv6nXnj4SfPRZXSMm/cMxO5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A0OL1Y6GEKPHYWKIIiu3AREYXRhAAUAAAAAAk5hbWUADQAAAExpbmtEYXRhTGlzdAAQVmVyc2lvbgABAAAACUxhc3RXcml0ZQAg+2cKkQEAAAABAP////9hAGEAAAAFX2lkABAAAAAE8gqQTyE850eV5DVVNdXzNwREYXRhAAUAAAAAAk5hbWUADQAAAExpbmtEYXRhTGlzdAAQVmVyc2lvbgAAAAAACUxhc3RXcml0ZQAf+2cKkQEAAAACAP////9wAHAAAAAFX2lkABAAAAAE+p154+Enz0WV0jJv3DMTuQNEYXRhABYAAAACUGVyc29uYWxJZAABAAAAAAACTmFtZQALAAAAUGVyc29uYWxJZAAQVmVyc2lvbgAAAAAACUxhc3RXcml0ZQA++2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wAFAAAABAAFAAAAAwD///////8FAAAAAAD///////8DAAMBAwAAAAMA////////DgAGTGlua0RhdGFMaXN0XzAEAAAAAQAFAAAAAAAFAAAAAgAFAAAAAAAFAAAAAg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4102915"/>
  <p:tag name="EMPOWERCHARTSPROPERTIES_B_LENGTH" val="24576"/>
  <p:tag name="DOWN_MIGRATION_INITIAL_LAYOUT_REQUIRED" val="9.2.99"/>
  <p:tag name="RUNTIME_ID" val="db31642b-72fa-45dc-9a34-3a05a455906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FQ1g7+PndIkKDOieLvMBAEAAAAAAADAAAAAAADAAAAAwADAAMA////////BQAAAAMAEAALbYZaWnsv50u8PupZREqu/wQAAAABAAMAAAACAAMAAAAEAAMAAAAAAAMAAAAEAAMAAAAAAAMAAAAEAAQAAwD///////8FAAAABAAQAAsbkTerJZmtTLTsLxlwaPXe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VDWDv4+d0iQoM6J4u8wEAREYXRhAAUAAAAAAk5hbWUADQAAAExpbmtEYXRhTGlzdAAQVmVyc2lvbgABAAAACUxhc3RXcml0ZQCbKYMKkQEAAAABAP////9hAGEAAAAFX2lkABAAAAAEbYZaWnsv50u8PupZREqu/wREYXRhAAUAAAAAAk5hbWUADQAAAExpbmtEYXRhTGlzdAAQVmVyc2lvbgAAAAAACUxhc3RXcml0ZQCaKYMKkQEAAAACAP////9wAHAAAAAFX2lkABAAAAAEG5E3qyWZrUy07C8ZcGj13gNEYXRhABYAAAACUGVyc29uYWxJZAABAAAAAAACTmFtZQALAAAAUGVyc29uYWxJZAAQVmVyc2lvbgAAAAAACUxhc3RXcml0ZQDlKYM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AFAAAABAAFAAAAAAD///////8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50538255778"/>
  <p:tag name="EMPOWERCHARTSPROPERTIES_B_LENGTH" val="24576"/>
  <p:tag name="DOWN_MIGRATION_INITIAL_LAYOUT_REQUIRED" val="9.2.99"/>
  <p:tag name="RUNTIME_ID" val="bc0c5ee2-ab3c-47ca-8627-1d3df5a9be4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FQ1g7+PndIkKDOieLvMBAEAAAAAAADAAAAAAADAAAAAwADAAMA////////BQAAAAMAEAALbYZaWnsv50u8PupZREqu/wQAAAABAAMAAAACAAMAAAAEAAMAAAAAAAMAAAAEAAMAAAAAAAMAAAAEAAQAAwD///////8FAAAABAAQAAsbkTerJZmtTLTsLxlwaPXe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VDWDv4+d0iQoM6J4u8wEAREYXRhAAUAAAAAAk5hbWUADQAAAExpbmtEYXRhTGlzdAAQVmVyc2lvbgABAAAACUxhc3RXcml0ZQCbKYMKkQEAAAABAP////9hAGEAAAAFX2lkABAAAAAEbYZaWnsv50u8PupZREqu/wREYXRhAAUAAAAAAk5hbWUADQAAAExpbmtEYXRhTGlzdAAQVmVyc2lvbgAAAAAACUxhc3RXcml0ZQCaKYMKkQEAAAACAP////9wAHAAAAAFX2lkABAAAAAEG5E3qyWZrUy07C8ZcGj13gNEYXRhABYAAAACUGVyc29uYWxJZAABAAAAAAACTmFtZQALAAAAUGVyc29uYWxJZAAQVmVyc2lvbgAAAAAACUxhc3RXcml0ZQDlKYM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AFAAAABAAFAAAAAAD///////8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50538255778"/>
  <p:tag name="EMPOWERCHARTSPROPERTIES_B_LENGTH" val="24576"/>
  <p:tag name="DOWN_MIGRATION_INITIAL_LAYOUT_REQUIRED" val="9.2.99"/>
  <p:tag name="RUNTIME_ID" val="db85b12c-31a2-41a9-873b-b216d5cfbbe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FQ1g7+PndIkKDOieLvMBAEAAAAAAADAAAAAAADAAAAAwADAAMA////////BQAAAAMAEAALbYZaWnsv50u8PupZREqu/wQAAAABAAMAAAACAAMAAAAEAAMAAAAAAAMAAAAEAAMAAAAAAAMAAAAEAAQAAwD///////8FAAAABAAQAAsbkTerJZmtTLTsLxlwaPXe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VDWDv4+d0iQoM6J4u8wEAREYXRhAAUAAAAAAk5hbWUADQAAAExpbmtEYXRhTGlzdAAQVmVyc2lvbgABAAAACUxhc3RXcml0ZQCbKYMKkQEAAAABAP////9hAGEAAAAFX2lkABAAAAAEbYZaWnsv50u8PupZREqu/wREYXRhAAUAAAAAAk5hbWUADQAAAExpbmtEYXRhTGlzdAAQVmVyc2lvbgAAAAAACUxhc3RXcml0ZQCaKYMKkQEAAAACAP////9wAHAAAAAFX2lkABAAAAAEG5E3qyWZrUy07C8ZcGj13gNEYXRhABYAAAACUGVyc29uYWxJZAABAAAAAAACTmFtZQALAAAAUGVyc29uYWxJZAAQVmVyc2lvbgAAAAAACUxhc3RXcml0ZQDlKYM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AFAAAABAAFAAAAAAD///////8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50538255778"/>
  <p:tag name="EMPOWERCHARTSPROPERTIES_B_LENGTH" val="24576"/>
  <p:tag name="DOWN_MIGRATION_INITIAL_LAYOUT_REQUIRED" val="9.2.99"/>
  <p:tag name="RUNTIME_ID" val="8a32787c-4369-4476-ac8c-5c88fbab283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WHenUoEG9Ngmj4UJenieQEAAAAAAADAAAAAAADAAAABAADAAEA////////BQAAAAMAEAALNn4Y4MZz+0imuuYfXhwu0AQAAAABAAMAAAAEAAMAAAABAAQAAgD///////8FAAAABAAQAAsZwZJ7xK27RYG9KMBgnzTgBAAAAAIAAwAAAAIAAwAAAAM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Yd6dSgQb02CaPhQl6eJ5AREYXRhAAUAAAAAAk5hbWUADQAAAExpbmtEYXRhTGlzdAAQVmVyc2lvbgAAAAAACUxhc3RXcml0ZQDE+mcKkQEAAAABAP////9hAGEAAAAFX2lkABAAAAAENn4Y4MZz+0imuuYfXhwu0AREYXRhAAUAAAAAAk5hbWUADQAAAExpbmtEYXRhTGlzdAAQVmVyc2lvbgABAAAACUxhc3RXcml0ZQDJ+mcKkQEAAAACAP////9wAHAAAAAFX2lkABAAAAAEGcGSe8Stu0WBvSjAYJ804ANEYXRhABYAAAACUGVyc29uYWxJZAABAAAAAAACTmFtZQALAAAAUGVyc29uYWxJZAAQVmVyc2lvbgAAAAAACUxhc3RXcml0ZQD1+m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MBAwAAAAQA////////DAAGUGVyc29uYWxJZF8wBAAAAAIABQAAAAM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3353578"/>
  <p:tag name="EMPOWERCHARTSPROPERTIES_B_LENGTH" val="24576"/>
  <p:tag name="DOWN_MIGRATION_INITIAL_LAYOUT_REQUIRED" val="9.2.99"/>
  <p:tag name="RUNTIME_ID" val="0d26a070-3f4f-4a43-a168-8da3e57b2ea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wANDi9WOhhCjx2FiiCIrtwEAAAAAAADAAAAAAADAAAAAwADAAAAAAADAAAAAwADAAAAAAADAAAAAwADAAAAAAD///////8DAAMA////////BQAAAAMAEAAL8gqQTyE850eV5DVVNdXzNwQAAAABAAMAAAACAAMAAAAEAAMAAAACAAMAAAAEAAMAAAACAP///////wQAAgD///////8FAAAABAAQAAv6nXnj4SfPRZXSMm/cMxO5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A0OL1Y6GEKPHYWKIIiu3AREYXRhAAUAAAAAAk5hbWUADQAAAExpbmtEYXRhTGlzdAAQVmVyc2lvbgABAAAACUxhc3RXcml0ZQAg+2cKkQEAAAABAP////9hAGEAAAAFX2lkABAAAAAE8gqQTyE850eV5DVVNdXzNwREYXRhAAUAAAAAAk5hbWUADQAAAExpbmtEYXRhTGlzdAAQVmVyc2lvbgAAAAAACUxhc3RXcml0ZQAf+2cKkQEAAAACAP////9wAHAAAAAFX2lkABAAAAAE+p154+Enz0WV0jJv3DMTuQNEYXRhABYAAAACUGVyc29uYWxJZAABAAAAAAACTmFtZQALAAAAUGVyc29uYWxJZAAQVmVyc2lvbgAAAAAACUxhc3RXcml0ZQA++2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wAFAAAABAAFAAAAAwD///////8FAAAAAAD///////8DAAMBAwAAAAMA////////DgAGTGlua0RhdGFMaXN0XzAEAAAAAQAFAAAAAAAFAAAAAgAFAAAAAAAFAAAAAg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4102915"/>
  <p:tag name="EMPOWERCHARTSPROPERTIES_B_LENGTH" val="24576"/>
  <p:tag name="DOWN_MIGRATION_INITIAL_LAYOUT_REQUIRED" val="9.2.99"/>
  <p:tag name="RUNTIME_ID" val="db31642b-72fa-45dc-9a34-3a05a455906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FQ1g7+PndIkKDOieLvMBAEAAAAAAADAAAAAAADAAAAAwADAAMA////////BQAAAAMAEAALbYZaWnsv50u8PupZREqu/wQAAAABAAMAAAACAAMAAAAEAAMAAAAAAAMAAAAEAAMAAAAAAAMAAAAEAAQAAwD///////8FAAAABAAQAAsbkTerJZmtTLTsLxlwaPXe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VDWDv4+d0iQoM6J4u8wEAREYXRhAAUAAAAAAk5hbWUADQAAAExpbmtEYXRhTGlzdAAQVmVyc2lvbgABAAAACUxhc3RXcml0ZQCbKYMKkQEAAAABAP////9hAGEAAAAFX2lkABAAAAAEbYZaWnsv50u8PupZREqu/wREYXRhAAUAAAAAAk5hbWUADQAAAExpbmtEYXRhTGlzdAAQVmVyc2lvbgAAAAAACUxhc3RXcml0ZQCaKYMKkQEAAAACAP////9wAHAAAAAFX2lkABAAAAAEG5E3qyWZrUy07C8ZcGj13gNEYXRhABYAAAACUGVyc29uYWxJZAABAAAAAAACTmFtZQALAAAAUGVyc29uYWxJZAAQVmVyc2lvbgAAAAAACUxhc3RXcml0ZQDlKYM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AFAAAABAAFAAAAAAD///////8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50538255778"/>
  <p:tag name="EMPOWERCHARTSPROPERTIES_B_LENGTH" val="24576"/>
  <p:tag name="DOWN_MIGRATION_INITIAL_LAYOUT_REQUIRED" val="9.2.99"/>
  <p:tag name="RUNTIME_ID" val="b7b71abc-4a40-4d64-94e8-7ed94d963c7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FQ1g7+PndIkKDOieLvMBAEAAAAAAADAAAAAAADAAAAAwADAAMA////////BQAAAAMAEAALbYZaWnsv50u8PupZREqu/wQAAAABAAMAAAACAAMAAAAEAAMAAAAAAAMAAAAEAAMAAAAAAAMAAAAEAAQAAwD///////8FAAAABAAQAAsbkTerJZmtTLTsLxlwaPXe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VDWDv4+d0iQoM6J4u8wEAREYXRhAAUAAAAAAk5hbWUADQAAAExpbmtEYXRhTGlzdAAQVmVyc2lvbgABAAAACUxhc3RXcml0ZQCbKYMKkQEAAAABAP////9hAGEAAAAFX2lkABAAAAAEbYZaWnsv50u8PupZREqu/wREYXRhAAUAAAAAAk5hbWUADQAAAExpbmtEYXRhTGlzdAAQVmVyc2lvbgAAAAAACUxhc3RXcml0ZQCaKYMKkQEAAAACAP////9wAHAAAAAFX2lkABAAAAAEG5E3qyWZrUy07C8ZcGj13gNEYXRhABYAAAACUGVyc29uYWxJZAABAAAAAAACTmFtZQALAAAAUGVyc29uYWxJZAAQVmVyc2lvbgAAAAAACUxhc3RXcml0ZQDlKYM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AFAAAABAAFAAAAAAD///////8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50538255778"/>
  <p:tag name="EMPOWERCHARTSPROPERTIES_B_LENGTH" val="24576"/>
  <p:tag name="DOWN_MIGRATION_INITIAL_LAYOUT_REQUIRED" val="9.2.99"/>
  <p:tag name="RUNTIME_ID" val="b7b71abc-4a40-4d64-94e8-7ed94d963c7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wANDi9WOhhCjx2FiiCIrtwEAAAAAAADAAAAAAADAAAAAwADAAAAAAADAAAAAwADAAAAAAADAAAAAwADAAAAAAD///////8DAAMA////////BQAAAAMAEAAL8gqQTyE850eV5DVVNdXzNwQAAAABAAMAAAACAAMAAAAEAAMAAAACAAMAAAAEAAMAAAACAP///////wQAAgD///////8FAAAABAAQAAv6nXnj4SfPRZXSMm/cMxO5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A0OL1Y6GEKPHYWKIIiu3AREYXRhAAUAAAAAAk5hbWUADQAAAExpbmtEYXRhTGlzdAAQVmVyc2lvbgABAAAACUxhc3RXcml0ZQAg+2cKkQEAAAABAP////9hAGEAAAAFX2lkABAAAAAE8gqQTyE850eV5DVVNdXzNwREYXRhAAUAAAAAAk5hbWUADQAAAExpbmtEYXRhTGlzdAAQVmVyc2lvbgAAAAAACUxhc3RXcml0ZQAf+2cKkQEAAAACAP////9wAHAAAAAFX2lkABAAAAAE+p154+Enz0WV0jJv3DMTuQNEYXRhABYAAAACUGVyc29uYWxJZAABAAAAAAACTmFtZQALAAAAUGVyc29uYWxJZAAQVmVyc2lvbgAAAAAACUxhc3RXcml0ZQA++2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wAFAAAABAAFAAAAAwD///////8FAAAAAAD///////8DAAMBAwAAAAMA////////DgAGTGlua0RhdGFMaXN0XzAEAAAAAQAFAAAAAAAFAAAAAgAFAAAAAAAFAAAAAg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4102915"/>
  <p:tag name="EMPOWERCHARTSPROPERTIES_B_LENGTH" val="24576"/>
  <p:tag name="DOWN_MIGRATION_INITIAL_LAYOUT_REQUIRED" val="9.2.99"/>
  <p:tag name="RUNTIME_ID" val="db31642b-72fa-45dc-9a34-3a05a455906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WHenUoEG9Ngmj4UJenieQEAAAAAAADAAAAAAADAAAABAADAAEA////////BQAAAAMAEAALNn4Y4MZz+0imuuYfXhwu0AQAAAABAAMAAAAEAAMAAAABAAQAAgD///////8FAAAABAAQAAsZwZJ7xK27RYG9KMBgnzTgBAAAAAIAAwAAAAIAAwAAAAM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Yd6dSgQb02CaPhQl6eJ5AREYXRhAAUAAAAAAk5hbWUADQAAAExpbmtEYXRhTGlzdAAQVmVyc2lvbgAAAAAACUxhc3RXcml0ZQDE+mcKkQEAAAABAP////9hAGEAAAAFX2lkABAAAAAENn4Y4MZz+0imuuYfXhwu0AREYXRhAAUAAAAAAk5hbWUADQAAAExpbmtEYXRhTGlzdAAQVmVyc2lvbgABAAAACUxhc3RXcml0ZQDJ+mcKkQEAAAACAP////9wAHAAAAAFX2lkABAAAAAEGcGSe8Stu0WBvSjAYJ804ANEYXRhABYAAAACUGVyc29uYWxJZAABAAAAAAACTmFtZQALAAAAUGVyc29uYWxJZAAQVmVyc2lvbgAAAAAACUxhc3RXcml0ZQD1+m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MBAwAAAAQA////////DAAGUGVyc29uYWxJZF8wBAAAAAIABQAAAAM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3353578"/>
  <p:tag name="EMPOWERCHARTSPROPERTIES_B_LENGTH" val="24576"/>
  <p:tag name="DOWN_MIGRATION_INITIAL_LAYOUT_REQUIRED" val="9.2.99"/>
  <p:tag name="RUNTIME_ID" val="0d26a070-3f4f-4a43-a168-8da3e57b2ea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wANDi9WOhhCjx2FiiCIrtwEAAAAAAADAAAAAAADAAAAAwADAAAAAAADAAAAAwADAAAAAAADAAAAAwADAAAAAAD///////8DAAMA////////BQAAAAMAEAAL8gqQTyE850eV5DVVNdXzNwQAAAABAAMAAAACAAMAAAAEAAMAAAACAAMAAAAEAAMAAAACAP///////wQAAgD///////8FAAAABAAQAAv6nXnj4SfPRZXSMm/cMxO5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A0OL1Y6GEKPHYWKIIiu3AREYXRhAAUAAAAAAk5hbWUADQAAAExpbmtEYXRhTGlzdAAQVmVyc2lvbgABAAAACUxhc3RXcml0ZQAg+2cKkQEAAAABAP////9hAGEAAAAFX2lkABAAAAAE8gqQTyE850eV5DVVNdXzNwREYXRhAAUAAAAAAk5hbWUADQAAAExpbmtEYXRhTGlzdAAQVmVyc2lvbgAAAAAACUxhc3RXcml0ZQAf+2cKkQEAAAACAP////9wAHAAAAAFX2lkABAAAAAE+p154+Enz0WV0jJv3DMTuQNEYXRhABYAAAACUGVyc29uYWxJZAABAAAAAAACTmFtZQALAAAAUGVyc29uYWxJZAAQVmVyc2lvbgAAAAAACUxhc3RXcml0ZQA++2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wAFAAAABAAFAAAAAwD///////8FAAAAAAD///////8DAAMBAwAAAAMA////////DgAGTGlua0RhdGFMaXN0XzAEAAAAAQAFAAAAAAAFAAAAAgAFAAAAAAAFAAAAAg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4102915"/>
  <p:tag name="EMPOWERCHARTSPROPERTIES_B_LENGTH" val="24576"/>
  <p:tag name="DOWN_MIGRATION_INITIAL_LAYOUT_REQUIRED" val="9.2.99"/>
  <p:tag name="RUNTIME_ID" val="db31642b-72fa-45dc-9a34-3a05a455906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FQ1g7+PndIkKDOieLvMBAEAAAAAAADAAAAAAADAAAAAwADAAMA////////BQAAAAMAEAALbYZaWnsv50u8PupZREqu/wQAAAABAAMAAAACAAMAAAAEAAMAAAAAAAMAAAAEAAMAAAAAAAMAAAAEAAQAAwD///////8FAAAABAAQAAsbkTerJZmtTLTsLxlwaPXe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VDWDv4+d0iQoM6J4u8wEAREYXRhAAUAAAAAAk5hbWUADQAAAExpbmtEYXRhTGlzdAAQVmVyc2lvbgABAAAACUxhc3RXcml0ZQCbKYMKkQEAAAABAP////9hAGEAAAAFX2lkABAAAAAEbYZaWnsv50u8PupZREqu/wREYXRhAAUAAAAAAk5hbWUADQAAAExpbmtEYXRhTGlzdAAQVmVyc2lvbgAAAAAACUxhc3RXcml0ZQCaKYMKkQEAAAACAP////9wAHAAAAAFX2lkABAAAAAEG5E3qyWZrUy07C8ZcGj13gNEYXRhABYAAAACUGVyc29uYWxJZAABAAAAAAACTmFtZQALAAAAUGVyc29uYWxJZAAQVmVyc2lvbgAAAAAACUxhc3RXcml0ZQDlKYM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AFAAAABAAFAAAAAAD///////8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50538255778"/>
  <p:tag name="EMPOWERCHARTSPROPERTIES_B_LENGTH" val="24576"/>
  <p:tag name="DOWN_MIGRATION_INITIAL_LAYOUT_REQUIRED" val="9.2.99"/>
  <p:tag name="RUNTIME_ID" val="b7b71abc-4a40-4d64-94e8-7ed94d963c7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FQ1g7+PndIkKDOieLvMBAEAAAAAAADAAAAAAADAAAAAwADAAMA////////BQAAAAMAEAALbYZaWnsv50u8PupZREqu/wQAAAABAAMAAAACAAMAAAAEAAMAAAAAAAMAAAAEAAMAAAAAAAMAAAAEAAQAAwD///////8FAAAABAAQAAsbkTerJZmtTLTsLxlwaPXe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VDWDv4+d0iQoM6J4u8wEAREYXRhAAUAAAAAAk5hbWUADQAAAExpbmtEYXRhTGlzdAAQVmVyc2lvbgABAAAACUxhc3RXcml0ZQCbKYMKkQEAAAABAP////9hAGEAAAAFX2lkABAAAAAEbYZaWnsv50u8PupZREqu/wREYXRhAAUAAAAAAk5hbWUADQAAAExpbmtEYXRhTGlzdAAQVmVyc2lvbgAAAAAACUxhc3RXcml0ZQCaKYMKkQEAAAACAP////9wAHAAAAAFX2lkABAAAAAEG5E3qyWZrUy07C8ZcGj13gNEYXRhABYAAAACUGVyc29uYWxJZAABAAAAAAACTmFtZQALAAAAUGVyc29uYWxJZAAQVmVyc2lvbgAAAAAACUxhc3RXcml0ZQDlKYM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AFAAAABAAFAAAAAAD///////8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50538255778"/>
  <p:tag name="EMPOWERCHARTSPROPERTIES_B_LENGTH" val="24576"/>
  <p:tag name="DOWN_MIGRATION_INITIAL_LAYOUT_REQUIRED" val="9.2.99"/>
  <p:tag name="RUNTIME_ID" val="b7b71abc-4a40-4d64-94e8-7ed94d963c7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4wEBmRxmxREsN+Xu2MjsJ8EAAAAAAADAAAAAAADAAAABAADAAAAAAADAAAABAADAAEA////////BQAAAAMAEAAL3i/h2rCoSEyOwfAfvQvOkAQAAAABAAMAAAAEAAMAAAABAAQAAgD///////8FAAAABAAQAAsBfqvEoO/USJx9DrXBvb7ABAAAAAIAAwAAAAIAAwAAAAM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AQGZHGbFESw35e7YyOwnwREYXRhAAUAAAAAAk5hbWUADQAAAExpbmtEYXRhTGlzdAAQVmVyc2lvbgAAAAAACUxhc3RXcml0ZQAtd6YgkgEAAAABAP////9hAGEAAAAFX2lkABAAAAAE3i/h2rCoSEyOwfAfvQvOkAREYXRhAAUAAAAAAk5hbWUADQAAAExpbmtEYXRhTGlzdAAQVmVyc2lvbgABAAAACUxhc3RXcml0ZQAvd6YgkgEAAAACAP////9wAHAAAAAFX2lkABAAAAAEAX6rxKDv1EicfQ61wb2+wANEYXRhABYAAAACUGVyc29uYWxJZAABAAAAAAACTmFtZQALAAAAUGVyc29uYWxJZAAQVmVyc2lvbgAAAAAACUxhc3RXcml0ZQCXd6Yg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214335218652"/>
  <p:tag name="EMPOWERCHARTSPROPERTIES_B_LENGTH" val="24576"/>
  <p:tag name="DOWN_MIGRATION_INITIAL_LAYOUT_REQUIRED" val="9.2.99"/>
  <p:tag name="RUNTIME_ID" val="f70d1aa0-19f1-4b53-b7fe-d84b525eb2d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38DroFJJ0ZKh3VOJXTFhZkEAAAAAAADAAAAAAADAAAABAADAAMA////////BQAAAAMAEAALt7Drrnq3dUGRasrLnlj6mwQAAAABAAMAAAAEAAMAAAABAAMAAAAEAP///////wMAAAAEAP///////wQAAwD///////8FAAAABAAQAAsRoY6T1gNpRbJ5vjMwiJDe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fwOugUknRkqHdU4ldMWFmQREYXRhAAUAAAAAAk5hbWUADQAAAExpbmtEYXRhTGlzdAAQVmVyc2lvbgAAAAAACUxhc3RXcml0ZQDpd6YgkgEAAAABAP////9hAGEAAAAFX2lkABAAAAAEt7Drrnq3dUGRasrLnlj6mwREYXRhAAUAAAAAAk5hbWUADQAAAExpbmtEYXRhTGlzdAAQVmVyc2lvbgABAAAACUxhc3RXcml0ZQDrd6YgkgEAAAACAP////9wAHAAAAAFX2lkABAAAAAEEaGOk9YDaUWyeb4zMIiQ3gNEYXRhABYAAAACUGVyc29uYWxJZAABAAAAAAACTmFtZQALAAAAUGVyc29uYWxJZAAQVmVyc2lvbgAAAAAACUxhc3RXcml0ZQAHeKYg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MBAwAAAAMA////////DgAGTGlua0RhdGFMaXN0XzEEAAAAAQAFAAAAAgAFAAAABAA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214336346908"/>
  <p:tag name="EMPOWERCHARTSPROPERTIES_B_LENGTH" val="24576"/>
  <p:tag name="DOWN_MIGRATION_INITIAL_LAYOUT_REQUIRED" val="9.2.99"/>
  <p:tag name="RUNTIME_ID" val="666bf45b-9137-4f45-8cfd-b8d9946ff07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WHenUoEG9Ngmj4UJenieQEAAAAAAADAAAAAAADAAAABAADAAEA////////BQAAAAMAEAALNn4Y4MZz+0imuuYfXhwu0AQAAAABAAMAAAAEAAMAAAABAAQAAgD///////8FAAAABAAQAAsZwZJ7xK27RYG9KMBgnzTgBAAAAAIAAwAAAAIAAwAAAAM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Yd6dSgQb02CaPhQl6eJ5AREYXRhAAUAAAAAAk5hbWUADQAAAExpbmtEYXRhTGlzdAAQVmVyc2lvbgAAAAAACUxhc3RXcml0ZQDE+mcKkQEAAAABAP////9hAGEAAAAFX2lkABAAAAAENn4Y4MZz+0imuuYfXhwu0AREYXRhAAUAAAAAAk5hbWUADQAAAExpbmtEYXRhTGlzdAAQVmVyc2lvbgABAAAACUxhc3RXcml0ZQDJ+mcKkQEAAAACAP////9wAHAAAAAFX2lkABAAAAAEGcGSe8Stu0WBvSjAYJ804ANEYXRhABYAAAACUGVyc29uYWxJZAABAAAAAAACTmFtZQALAAAAUGVyc29uYWxJZAAQVmVyc2lvbgAAAAAACUxhc3RXcml0ZQD1+m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MBAwAAAAQA////////DAAGUGVyc29uYWxJZF8wBAAAAAIABQAAAAM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3353578"/>
  <p:tag name="EMPOWERCHARTSPROPERTIES_B_LENGTH" val="24576"/>
  <p:tag name="DOWN_MIGRATION_INITIAL_LAYOUT_REQUIRED" val="9.2.99"/>
  <p:tag name="RUNTIME_ID" val="0d26a070-3f4f-4a43-a168-8da3e57b2ea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wANDi9WOhhCjx2FiiCIrtwEAAAAAAADAAAAAAADAAAAAwADAAAAAAADAAAAAwADAAAAAAADAAAAAwADAAAAAAD///////8DAAMA////////BQAAAAMAEAAL8gqQTyE850eV5DVVNdXzNwQAAAABAAMAAAACAAMAAAAEAAMAAAACAAMAAAAEAAMAAAACAP///////wQAAgD///////8FAAAABAAQAAv6nXnj4SfPRZXSMm/cMxO5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A0OL1Y6GEKPHYWKIIiu3AREYXRhAAUAAAAAAk5hbWUADQAAAExpbmtEYXRhTGlzdAAQVmVyc2lvbgABAAAACUxhc3RXcml0ZQAg+2cKkQEAAAABAP////9hAGEAAAAFX2lkABAAAAAE8gqQTyE850eV5DVVNdXzNwREYXRhAAUAAAAAAk5hbWUADQAAAExpbmtEYXRhTGlzdAAQVmVyc2lvbgAAAAAACUxhc3RXcml0ZQAf+2cKkQEAAAACAP////9wAHAAAAAFX2lkABAAAAAE+p154+Enz0WV0jJv3DMTuQNEYXRhABYAAAACUGVyc29uYWxJZAABAAAAAAACTmFtZQALAAAAUGVyc29uYWxJZAAQVmVyc2lvbgAAAAAACUxhc3RXcml0ZQA++2cK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wAFAAAABAAFAAAAAwD///////8FAAAAAAD///////8DAAMBAwAAAAMA////////DgAGTGlua0RhdGFMaXN0XzAEAAAAAQAFAAAAAAAFAAAAAgAFAAAAAAAFAAAAAg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80532724102915"/>
  <p:tag name="EMPOWERCHARTSPROPERTIES_B_LENGTH" val="24576"/>
  <p:tag name="DOWN_MIGRATION_INITIAL_LAYOUT_REQUIRED" val="9.2.99"/>
  <p:tag name="RUNTIME_ID" val="db31642b-72fa-45dc-9a34-3a05a45590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/////wUA2gsAAAAAAAAAAAAAIAD///////////////8AAAD///////////////8DAAAABA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6ubGllaDbVGoEti1SGBpvsEAAAAAAADAAAABAADAAAAAwADAAYA////////BQAAAAMAEAALvFT6Zi50nkyRjwZwiLRnAQQAAAABAAMAAAACAAMAAAABAAMAAAAAAP///////wMAAAAAAP///////wMAAAAAAP///////wMAAAAAAP///////wMAAAAAAP///////wQAAQD///////8FAAAABAAQAAtV0L9T7kDdQpyP7Po0Y1m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q5saWVoNtUagS2LVIYGm+wREYXRhAAUAAAAAAk5hbWUADQAAAExpbmtEYXRhTGlzdAAQVmVyc2lvbgABAAAACUxhc3RXcml0ZQBNDXAgkgEAAAABAP////9hAGEAAAAFX2lkABAAAAAEvFT6Zi50nkyRjwZwiLRnAQREYXRhAAUAAAAAAk5hbWUADQAAAExpbmtEYXRhTGlzdAAQVmVyc2lvbgAAAAAACUxhc3RXcml0ZQAkDXAgkgEAAAACAP////9wAHAAAAAFX2lkABAAAAAEVdC/U+5A3UKcj+z6NGNZoQNEYXRhABYAAAACUGVyc29uYWxJZAABAAAAAAACTmFtZQALAAAAUGVyc29uYWxJZAAQVmVyc2lvbgAAAAAACUxhc3RXcml0ZQCqDXAg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DAP///////wUAAAADAP///////wUAAAAD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AFAAAABAAFAAAAAAAFAAAABAAEAAYBAwAAAAQA////////DAAGUGVyc29uYWxJZF8wBAAAAAIABQAAAAIABQAAAAEABQAAAAMA////////BQAAAAM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178674626946"/>
  <p:tag name="EMPOWERCHARTSPROPERTIES_B_LENGTH" val="24576"/>
  <p:tag name="DOWN_MIGRATION_INITIAL_LAYOUT_REQUIRED" val="9.2.99"/>
  <p:tag name="RUNTIME_ID" val="515ef7a2-ca2c-405a-8864-826ce26ec2f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wg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79jTKG/saFGlZ0+4lp6M1cEAAAAAAADAAAAAAADAAAAAwADAAAAAAADAAAAAwADAAAAAAADAAAAAwADAAAAAAD///////8DAAAAAAD///////8DAAMA////////BQAAAAMAEAALilp34U/9GUKHK5uOZKH86QQAAAABAAMAAAACAAMAAAAEAAMAAAACAAMAAAAEAAMAAAACAP///////wQAAgD///////8FAAAABAAQAAvXbV/9/lMyQaWqeWnar7xq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2NMob+xoUaVnT7iWnozVwREYXRhAAUAAAAAAk5hbWUADQAAAExpbmtEYXRhTGlzdAAQVmVyc2lvbgABAAAACUxhc3RXcml0ZQA2DnAgkgEAAAABAP////9hAGEAAAAFX2lkABAAAAAEilp34U/9GUKHK5uOZKH86QREYXRhAAUAAAAAAk5hbWUADQAAAExpbmtEYXRhTGlzdAAQVmVyc2lvbgAAAAAACUxhc3RXcml0ZQA1DnAgkgEAAAACAP////9wAHAAAAAFX2lkABAAAAAE121f/f5TMkGlqnlp2q+8agNEYXRhABYAAAACUGVyc29uYWxJZAABAAAAAAACTmFtZQALAAAAUGVyc29uYWxJZAAQVmVyc2lvbgAAAAAACUxhc3RXcml0ZQBjDnAg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EEAAAAAAAFAAAAAwAFAAAABAAFAAAAAwD///////8FAAAAAwD///////8FAAAAAAD///////8FAAAAAAD///////8DAAMBAwAAAAMA////////DgAGTGlua0RhdGFMaXN0XzAEAAAAAQAFAAAAAAAFAAAAAg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178676494036"/>
  <p:tag name="EMPOWERCHARTSPROPERTIES_B_LENGTH" val="24576"/>
  <p:tag name="DOWN_MIGRATION_INITIAL_LAYOUT_REQUIRED" val="9.2.99"/>
  <p:tag name="RUNTIME_ID" val="be813513-e396-45b5-8d9a-3d43b47490d3"/>
</p:tagLst>
</file>

<file path=ppt/theme/theme1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8a3751c-8439-49c1-82bc-14bb4ae83a5d">
      <Terms xmlns="http://schemas.microsoft.com/office/infopath/2007/PartnerControls"/>
    </lcf76f155ced4ddcb4097134ff3c332f>
    <TaxCatchAll xmlns="e4f15ec2-b070-4ef2-af34-e078ed559bd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819D47FAC7B64C88FE9D259FAC9D80" ma:contentTypeVersion="18" ma:contentTypeDescription="Create a new document." ma:contentTypeScope="" ma:versionID="170905c0d3b576b8df7280ec5dd12e9d">
  <xsd:schema xmlns:xsd="http://www.w3.org/2001/XMLSchema" xmlns:xs="http://www.w3.org/2001/XMLSchema" xmlns:p="http://schemas.microsoft.com/office/2006/metadata/properties" xmlns:ns2="68a3751c-8439-49c1-82bc-14bb4ae83a5d" xmlns:ns3="e4f15ec2-b070-4ef2-af34-e078ed559bdc" targetNamespace="http://schemas.microsoft.com/office/2006/metadata/properties" ma:root="true" ma:fieldsID="6a124b14e263fed48f15f464cc2fb538" ns2:_="" ns3:_="">
    <xsd:import namespace="68a3751c-8439-49c1-82bc-14bb4ae83a5d"/>
    <xsd:import namespace="e4f15ec2-b070-4ef2-af34-e078ed559bd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a3751c-8439-49c1-82bc-14bb4ae83a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e50c28b-242c-4b51-be91-908d422433a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f15ec2-b070-4ef2-af34-e078ed559bdc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29fad44-8cb3-4f12-a561-88a27cac62fc}" ma:internalName="TaxCatchAll" ma:showField="CatchAllData" ma:web="e4f15ec2-b070-4ef2-af34-e078ed559b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0E7298-E46D-48B2-8A6E-C78D9A68E049}">
  <ds:schemaRefs>
    <ds:schemaRef ds:uri="http://schemas.microsoft.com/office/2006/metadata/properties"/>
    <ds:schemaRef ds:uri="http://schemas.microsoft.com/office/infopath/2007/PartnerControls"/>
    <ds:schemaRef ds:uri="68a3751c-8439-49c1-82bc-14bb4ae83a5d"/>
    <ds:schemaRef ds:uri="e4f15ec2-b070-4ef2-af34-e078ed559bdc"/>
  </ds:schemaRefs>
</ds:datastoreItem>
</file>

<file path=customXml/itemProps2.xml><?xml version="1.0" encoding="utf-8"?>
<ds:datastoreItem xmlns:ds="http://schemas.openxmlformats.org/officeDocument/2006/customXml" ds:itemID="{4AB457AC-4F85-4AB2-B5B2-ED42B2C8EE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A203B13-8206-4CBF-B2DC-94C2BAAD6D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a3751c-8439-49c1-82bc-14bb4ae83a5d"/>
    <ds:schemaRef ds:uri="e4f15ec2-b070-4ef2-af34-e078ed559bd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699</TotalTime>
  <Words>784</Words>
  <Application>Microsoft Office PowerPoint</Application>
  <PresentationFormat>Widescreen</PresentationFormat>
  <Paragraphs>134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Bosch Office Sans</vt:lpstr>
      <vt:lpstr>Calibri</vt:lpstr>
      <vt:lpstr>Times New Roman</vt:lpstr>
      <vt:lpstr>Wingdings</vt:lpstr>
      <vt:lpstr>2_Custom Design</vt:lpstr>
      <vt:lpstr>PowerPoint Presentation</vt:lpstr>
      <vt:lpstr>Cooktops - Electric</vt:lpstr>
      <vt:lpstr>Cooktops – Liberty Induction</vt:lpstr>
      <vt:lpstr>Cooktops – Heritage Induction</vt:lpstr>
      <vt:lpstr>Pro Range</vt:lpstr>
      <vt:lpstr>Ventilation – Wall Hood</vt:lpstr>
      <vt:lpstr>Ventilation – Island Hood</vt:lpstr>
      <vt:lpstr>Storage Drawer</vt:lpstr>
    </vt:vector>
  </TitlesOfParts>
  <Company>BS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oval-Maldonado, Beatriz (RNA/MK-MAT)</dc:creator>
  <cp:lastModifiedBy>Leonard Jessica (BSH RNA/MK-CG)</cp:lastModifiedBy>
  <cp:revision>54</cp:revision>
  <dcterms:created xsi:type="dcterms:W3CDTF">2018-09-14T16:08:49Z</dcterms:created>
  <dcterms:modified xsi:type="dcterms:W3CDTF">2024-09-25T23:2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819D47FAC7B64C88FE9D259FAC9D80</vt:lpwstr>
  </property>
  <property fmtid="{D5CDD505-2E9C-101B-9397-08002B2CF9AE}" pid="3" name="MediaServiceImageTags">
    <vt:lpwstr/>
  </property>
</Properties>
</file>